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m4a" ContentType="audio/mp4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4021" r:id="rId1"/>
    <p:sldMasterId id="2147484047" r:id="rId2"/>
    <p:sldMasterId id="2147484065" r:id="rId3"/>
  </p:sldMasterIdLst>
  <p:notesMasterIdLst>
    <p:notesMasterId r:id="rId17"/>
  </p:notesMasterIdLst>
  <p:handoutMasterIdLst>
    <p:handoutMasterId r:id="rId18"/>
  </p:handoutMasterIdLst>
  <p:sldIdLst>
    <p:sldId id="532" r:id="rId4"/>
    <p:sldId id="514" r:id="rId5"/>
    <p:sldId id="489" r:id="rId6"/>
    <p:sldId id="562" r:id="rId7"/>
    <p:sldId id="522" r:id="rId8"/>
    <p:sldId id="524" r:id="rId9"/>
    <p:sldId id="525" r:id="rId10"/>
    <p:sldId id="568" r:id="rId11"/>
    <p:sldId id="511" r:id="rId12"/>
    <p:sldId id="520" r:id="rId13"/>
    <p:sldId id="482" r:id="rId14"/>
    <p:sldId id="569" r:id="rId15"/>
    <p:sldId id="368" r:id="rId16"/>
  </p:sldIdLst>
  <p:sldSz cx="13479463" cy="7581900"/>
  <p:notesSz cx="6858000" cy="9872663"/>
  <p:defaultTextStyle>
    <a:defPPr marL="0" marR="0" indent="0" algn="l" defTabSz="895531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ctr" defTabSz="444753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Light"/>
        <a:ea typeface="Helvetica Light"/>
        <a:cs typeface="Helvetica Light"/>
        <a:sym typeface="Helvetica Light"/>
      </a:defRPr>
    </a:lvl1pPr>
    <a:lvl2pPr marL="0" marR="0" indent="0" algn="ctr" defTabSz="444753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Light"/>
        <a:ea typeface="Helvetica Light"/>
        <a:cs typeface="Helvetica Light"/>
        <a:sym typeface="Helvetica Light"/>
      </a:defRPr>
    </a:lvl2pPr>
    <a:lvl3pPr marL="0" marR="0" indent="0" algn="ctr" defTabSz="444753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Light"/>
        <a:ea typeface="Helvetica Light"/>
        <a:cs typeface="Helvetica Light"/>
        <a:sym typeface="Helvetica Light"/>
      </a:defRPr>
    </a:lvl3pPr>
    <a:lvl4pPr marL="0" marR="0" indent="0" algn="ctr" defTabSz="444753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Light"/>
        <a:ea typeface="Helvetica Light"/>
        <a:cs typeface="Helvetica Light"/>
        <a:sym typeface="Helvetica Light"/>
      </a:defRPr>
    </a:lvl4pPr>
    <a:lvl5pPr marL="0" marR="0" indent="0" algn="ctr" defTabSz="444753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Light"/>
        <a:ea typeface="Helvetica Light"/>
        <a:cs typeface="Helvetica Light"/>
        <a:sym typeface="Helvetica Light"/>
      </a:defRPr>
    </a:lvl5pPr>
    <a:lvl6pPr marL="0" marR="0" indent="0" algn="ctr" defTabSz="444753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Light"/>
        <a:ea typeface="Helvetica Light"/>
        <a:cs typeface="Helvetica Light"/>
        <a:sym typeface="Helvetica Light"/>
      </a:defRPr>
    </a:lvl6pPr>
    <a:lvl7pPr marL="0" marR="0" indent="0" algn="ctr" defTabSz="444753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Light"/>
        <a:ea typeface="Helvetica Light"/>
        <a:cs typeface="Helvetica Light"/>
        <a:sym typeface="Helvetica Light"/>
      </a:defRPr>
    </a:lvl7pPr>
    <a:lvl8pPr marL="0" marR="0" indent="0" algn="ctr" defTabSz="444753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Light"/>
        <a:ea typeface="Helvetica Light"/>
        <a:cs typeface="Helvetica Light"/>
        <a:sym typeface="Helvetica Light"/>
      </a:defRPr>
    </a:lvl8pPr>
    <a:lvl9pPr marL="0" marR="0" indent="0" algn="ctr" defTabSz="444753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Light"/>
        <a:ea typeface="Helvetica Light"/>
        <a:cs typeface="Helvetica Light"/>
        <a:sym typeface="Helvetica Light"/>
      </a:defRPr>
    </a:lvl9pPr>
  </p:defaultTextStyle>
  <p:extLst>
    <p:ext uri="{EFAFB233-063F-42B5-8137-9DF3F51BA10A}">
      <p15:sldGuideLst xmlns:p15="http://schemas.microsoft.com/office/powerpoint/2012/main">
        <p15:guide id="2" pos="8419" userDrawn="1">
          <p15:clr>
            <a:srgbClr val="A4A3A4"/>
          </p15:clr>
        </p15:guide>
        <p15:guide id="5" orient="horz" pos="347" userDrawn="1">
          <p15:clr>
            <a:srgbClr val="A4A3A4"/>
          </p15:clr>
        </p15:guide>
        <p15:guide id="7" orient="horz" pos="415" userDrawn="1">
          <p15:clr>
            <a:srgbClr val="A4A3A4"/>
          </p15:clr>
        </p15:guide>
        <p15:guide id="9" pos="18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Мельникова Ирина Игоревна" initials="МИИ" lastIdx="4" clrIdx="0">
    <p:extLst>
      <p:ext uri="{19B8F6BF-5375-455C-9EA6-DF929625EA0E}">
        <p15:presenceInfo xmlns:p15="http://schemas.microsoft.com/office/powerpoint/2012/main" userId="S-1-5-21-2734858679-1761669737-1885829517-43820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2D050"/>
    <a:srgbClr val="0AD907"/>
    <a:srgbClr val="EE8137"/>
    <a:srgbClr val="FAF9F9"/>
    <a:srgbClr val="8A51A0"/>
    <a:srgbClr val="DBF2C4"/>
    <a:srgbClr val="D5FC79"/>
    <a:srgbClr val="333333"/>
    <a:srgbClr val="468687"/>
    <a:srgbClr val="F1EBA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>
          <a:latin typeface="Helvetica Light"/>
          <a:ea typeface="Helvetica Light"/>
          <a:cs typeface="Helvetica Light"/>
        </a:font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CAD2E8"/>
          </a:solidFill>
        </a:fill>
      </a:tcStyle>
    </a:wholeTbl>
    <a:band2H>
      <a:tcTxStyle/>
      <a:tcStyle>
        <a:tcBdr/>
        <a:fill>
          <a:solidFill>
            <a:srgbClr val="E6EAF4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Row>
  </a:tblStyle>
  <a:tblStyle styleId="{C7B018BB-80A7-4F77-B60F-C8B233D01FF8}" styleName="">
    <a:tblBg/>
    <a:wholeTbl>
      <a:tcTxStyle b="off" i="off">
        <a:font>
          <a:latin typeface="Helvetica Light"/>
          <a:ea typeface="Helvetica Light"/>
          <a:cs typeface="Helvetica Light"/>
        </a:font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F2E7CB"/>
          </a:solidFill>
        </a:fill>
      </a:tcStyle>
    </a:wholeTbl>
    <a:band2H>
      <a:tcTxStyle/>
      <a:tcStyle>
        <a:tcBdr/>
        <a:fill>
          <a:solidFill>
            <a:srgbClr val="F8F4E7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Row>
  </a:tblStyle>
  <a:tblStyle styleId="{EEE7283C-3CF3-47DC-8721-378D4A62B228}" styleName="">
    <a:tblBg/>
    <a:wholeTbl>
      <a:tcTxStyle b="off" i="off">
        <a:font>
          <a:latin typeface="Helvetica Light"/>
          <a:ea typeface="Helvetica Light"/>
          <a:cs typeface="Helvetica Light"/>
        </a:font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D5CDDE"/>
          </a:solidFill>
        </a:fill>
      </a:tcStyle>
    </a:wholeTbl>
    <a:band2H>
      <a:tcTxStyle/>
      <a:tcStyle>
        <a:tcBdr/>
        <a:fill>
          <a:solidFill>
            <a:srgbClr val="EBE8EF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Row>
  </a:tblStyle>
  <a:tblStyle styleId="{CF821DB8-F4EB-4A41-A1BA-3FCAFE7338EE}" styleName="">
    <a:tblBg/>
    <a:wholeTbl>
      <a:tcTxStyle b="off" i="off">
        <a:font>
          <a:latin typeface="Helvetica Light"/>
          <a:ea typeface="Helvetica Light"/>
          <a:cs typeface="Helvetica Light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E6E6E6"/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508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254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Row>
  </a:tblStyle>
  <a:tblStyle styleId="{33BA23B1-9221-436E-865A-0063620EA4FD}" styleName="">
    <a:tblBg/>
    <a:wholeTbl>
      <a:tcTxStyle b="off" i="off">
        <a:font>
          <a:latin typeface="Helvetica Light"/>
          <a:ea typeface="Helvetica Light"/>
          <a:cs typeface="Helvetica Light"/>
        </a:font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CACACA"/>
          </a:solidFill>
        </a:fill>
      </a:tcStyle>
    </a:wholeTbl>
    <a:band2H>
      <a:tcTxStyle/>
      <a:tcStyle>
        <a:tcBdr/>
        <a:fill>
          <a:solidFill>
            <a:srgbClr val="E6E6E6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firstRow>
  </a:tblStyle>
  <a:tblStyle styleId="{2708684C-4D16-4618-839F-0558EEFCDFE6}" styleName="">
    <a:tblBg/>
    <a:wholeTbl>
      <a:tcTxStyle b="off" i="off">
        <a:font>
          <a:latin typeface="Helvetica Light"/>
          <a:ea typeface="Helvetica Light"/>
          <a:cs typeface="Helvetica Light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solidFill>
                <a:srgbClr val="000000"/>
              </a:solidFill>
              <a:prstDash val="solid"/>
              <a:round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solidFill>
            <a:srgbClr val="000000">
              <a:alpha val="20000"/>
            </a:srgbClr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solidFill>
                <a:srgbClr val="000000"/>
              </a:solidFill>
              <a:prstDash val="solid"/>
              <a:round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solidFill>
            <a:srgbClr val="000000">
              <a:alpha val="20000"/>
            </a:srgbClr>
          </a:solidFill>
        </a:fill>
      </a:tcStyle>
    </a:firstCol>
    <a:lastRow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50800" cap="flat">
              <a:solidFill>
                <a:srgbClr val="000000"/>
              </a:solidFill>
              <a:prstDash val="solid"/>
              <a:round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noFill/>
        </a:fill>
      </a:tcStyle>
    </a:lastRow>
    <a:firstRow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noFill/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08FB837D-C827-4EFA-A057-4D05807E0F7C}" styleName="Стиль из темы 1 - акцент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0E3FDE45-AF77-4B5C-9715-49D594BDF05E}" styleName="Светлый стиль 1 -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Светлый стиль 1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A111915-BE36-4E01-A7E5-04B1672EAD32}" styleName="Светлый стиль 2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72833802-FEF1-4C79-8D5D-14CF1EAF98D9}" styleName="Светлый стиль 2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DCAF9ED-07DC-4A11-8D7F-57B35C25682E}" styleName="Средний стиль 1 —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E171933-4619-4E11-9A3F-F7608DF75F80}" styleName="Средний стиль 1 — акцент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FD0F851-EC5A-4D38-B0AD-8093EC10F338}" styleName="Светлый стиль 1 - акцент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816" autoAdjust="0"/>
    <p:restoredTop sz="75524" autoAdjust="0"/>
  </p:normalViewPr>
  <p:slideViewPr>
    <p:cSldViewPr snapToGrid="0" showGuides="1">
      <p:cViewPr varScale="1">
        <p:scale>
          <a:sx n="79" d="100"/>
          <a:sy n="79" d="100"/>
        </p:scale>
        <p:origin x="1350" y="66"/>
      </p:cViewPr>
      <p:guideLst>
        <p:guide pos="8419"/>
        <p:guide orient="horz" pos="347"/>
        <p:guide orient="horz" pos="415"/>
        <p:guide pos="186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howGuides="1">
      <p:cViewPr varScale="1">
        <p:scale>
          <a:sx n="131" d="100"/>
          <a:sy n="131" d="100"/>
        </p:scale>
        <p:origin x="5056" y="17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21" Type="http://schemas.openxmlformats.org/officeDocument/2006/relationships/viewProps" Target="view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tableStyles" Target="tableStyles.xml"/><Relationship Id="rId10" Type="http://schemas.openxmlformats.org/officeDocument/2006/relationships/slide" Target="slides/slide7.xml"/><Relationship Id="rId19" Type="http://schemas.openxmlformats.org/officeDocument/2006/relationships/commentAuthors" Target="commentAuthor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ECE74AC-0C9A-41C6-A050-67A527DB6C57}" type="datetimeFigureOut">
              <a:rPr lang="ru-RU" smtClean="0"/>
              <a:t>18.02.2025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377316"/>
            <a:ext cx="2971800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9377316"/>
            <a:ext cx="2971800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A1CAFBA-1850-40AC-852A-7282CE4B646C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6412159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Shape 116"/>
          <p:cNvSpPr>
            <a:spLocks noGrp="1" noRot="1" noChangeAspect="1"/>
          </p:cNvSpPr>
          <p:nvPr>
            <p:ph type="sldImg"/>
          </p:nvPr>
        </p:nvSpPr>
        <p:spPr>
          <a:xfrm>
            <a:off x="136525" y="739775"/>
            <a:ext cx="6584950" cy="3703638"/>
          </a:xfrm>
          <a:prstGeom prst="rect">
            <a:avLst/>
          </a:prstGeom>
        </p:spPr>
        <p:txBody>
          <a:bodyPr/>
          <a:lstStyle/>
          <a:p>
            <a:endParaRPr dirty="0"/>
          </a:p>
        </p:txBody>
      </p:sp>
      <p:sp>
        <p:nvSpPr>
          <p:cNvPr id="117" name="Shape 117"/>
          <p:cNvSpPr>
            <a:spLocks noGrp="1"/>
          </p:cNvSpPr>
          <p:nvPr>
            <p:ph type="body" sz="quarter" idx="1"/>
          </p:nvPr>
        </p:nvSpPr>
        <p:spPr>
          <a:xfrm>
            <a:off x="914401" y="4689515"/>
            <a:ext cx="5029200" cy="4442698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870582007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defTabSz="447762" latinLnBrk="0">
      <a:lnSpc>
        <a:spcPct val="117999"/>
      </a:lnSpc>
      <a:defRPr sz="2200">
        <a:latin typeface="+mn-lt"/>
        <a:ea typeface="+mn-ea"/>
        <a:cs typeface="+mn-cs"/>
        <a:sym typeface="Helvetica Neue"/>
      </a:defRPr>
    </a:lvl1pPr>
    <a:lvl2pPr indent="223900" defTabSz="447762" latinLnBrk="0">
      <a:lnSpc>
        <a:spcPct val="117999"/>
      </a:lnSpc>
      <a:defRPr sz="2200">
        <a:latin typeface="+mn-lt"/>
        <a:ea typeface="+mn-ea"/>
        <a:cs typeface="+mn-cs"/>
        <a:sym typeface="Helvetica Neue"/>
      </a:defRPr>
    </a:lvl2pPr>
    <a:lvl3pPr indent="447762" defTabSz="447762" latinLnBrk="0">
      <a:lnSpc>
        <a:spcPct val="117999"/>
      </a:lnSpc>
      <a:defRPr sz="2200">
        <a:latin typeface="+mn-lt"/>
        <a:ea typeface="+mn-ea"/>
        <a:cs typeface="+mn-cs"/>
        <a:sym typeface="Helvetica Neue"/>
      </a:defRPr>
    </a:lvl3pPr>
    <a:lvl4pPr indent="671618" defTabSz="447762" latinLnBrk="0">
      <a:lnSpc>
        <a:spcPct val="117999"/>
      </a:lnSpc>
      <a:defRPr sz="2200">
        <a:latin typeface="+mn-lt"/>
        <a:ea typeface="+mn-ea"/>
        <a:cs typeface="+mn-cs"/>
        <a:sym typeface="Helvetica Neue"/>
      </a:defRPr>
    </a:lvl4pPr>
    <a:lvl5pPr indent="895531" defTabSz="447762" latinLnBrk="0">
      <a:lnSpc>
        <a:spcPct val="117999"/>
      </a:lnSpc>
      <a:defRPr sz="2200">
        <a:latin typeface="+mn-lt"/>
        <a:ea typeface="+mn-ea"/>
        <a:cs typeface="+mn-cs"/>
        <a:sym typeface="Helvetica Neue"/>
      </a:defRPr>
    </a:lvl5pPr>
    <a:lvl6pPr indent="1119425" defTabSz="447762" latinLnBrk="0">
      <a:lnSpc>
        <a:spcPct val="117999"/>
      </a:lnSpc>
      <a:defRPr sz="2200">
        <a:latin typeface="+mn-lt"/>
        <a:ea typeface="+mn-ea"/>
        <a:cs typeface="+mn-cs"/>
        <a:sym typeface="Helvetica Neue"/>
      </a:defRPr>
    </a:lvl6pPr>
    <a:lvl7pPr indent="1343293" defTabSz="447762" latinLnBrk="0">
      <a:lnSpc>
        <a:spcPct val="117999"/>
      </a:lnSpc>
      <a:defRPr sz="2200">
        <a:latin typeface="+mn-lt"/>
        <a:ea typeface="+mn-ea"/>
        <a:cs typeface="+mn-cs"/>
        <a:sym typeface="Helvetica Neue"/>
      </a:defRPr>
    </a:lvl7pPr>
    <a:lvl8pPr indent="1567175" defTabSz="447762" latinLnBrk="0">
      <a:lnSpc>
        <a:spcPct val="117999"/>
      </a:lnSpc>
      <a:defRPr sz="2200">
        <a:latin typeface="+mn-lt"/>
        <a:ea typeface="+mn-ea"/>
        <a:cs typeface="+mn-cs"/>
        <a:sym typeface="Helvetica Neue"/>
      </a:defRPr>
    </a:lvl8pPr>
    <a:lvl9pPr indent="1791067" defTabSz="447762" latinLnBrk="0">
      <a:lnSpc>
        <a:spcPct val="117999"/>
      </a:lnSpc>
      <a:defRPr sz="2200">
        <a:latin typeface="+mn-lt"/>
        <a:ea typeface="+mn-ea"/>
        <a:cs typeface="+mn-cs"/>
        <a:sym typeface="Helvetica Neue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0874215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8957081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531285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3884613" y="9377316"/>
            <a:ext cx="2971800" cy="493633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444753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AAD57D-9ACE-4DAC-94EB-21D8C33BCC91}" type="slidenum">
              <a:rPr kumimoji="0" lang="ru-RU" sz="2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Light"/>
                <a:sym typeface="Helvetica Light"/>
              </a:rPr>
              <a:pPr marL="0" marR="0" lvl="0" indent="0" algn="ctr" defTabSz="44475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2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Light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38214844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24C0BA-3C28-48C9-911B-92BCB6F07E63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619128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24C0BA-3C28-48C9-911B-92BCB6F07E63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6189326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3303794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5044015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840C46A-ADF8-4826-8941-2793C419A0D2}" type="slidenum">
              <a:rPr lang="ru-RU" smtClean="0"/>
              <a:t>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9439903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4738788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24C0BA-3C28-48C9-911B-92BCB6F07E63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151012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Заголовок — в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2000156" y="3051391"/>
            <a:ext cx="7736664" cy="29546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ru-RU" sz="4800" b="1" spc="0" baseline="0" noProof="0" dirty="0" smtClean="0">
                <a:solidFill>
                  <a:srgbClr val="868686"/>
                </a:solidFill>
              </a:defRPr>
            </a:lvl1pPr>
          </a:lstStyle>
          <a:p>
            <a:pPr lvl="0" defTabSz="1012759"/>
            <a:r>
              <a:rPr lang="ru-RU" noProof="0" dirty="0"/>
              <a:t>ОБРАЗЕЦ </a:t>
            </a:r>
            <a:r>
              <a:rPr lang="en-US" noProof="0" dirty="0"/>
              <a:t/>
            </a:r>
            <a:br>
              <a:rPr lang="en-US" noProof="0" dirty="0"/>
            </a:br>
            <a:r>
              <a:rPr lang="ru-RU" noProof="0" dirty="0"/>
              <a:t>ЗАГОЛОВКА</a:t>
            </a:r>
            <a:r>
              <a:rPr lang="en-US" noProof="0" dirty="0"/>
              <a:t/>
            </a:r>
            <a:br>
              <a:rPr lang="en-US" noProof="0" dirty="0"/>
            </a:br>
            <a:r>
              <a:rPr lang="ru-RU" noProof="0" dirty="0"/>
              <a:t>В НЕСКОЛЬКО</a:t>
            </a:r>
            <a:br>
              <a:rPr lang="ru-RU" noProof="0" dirty="0"/>
            </a:br>
            <a:r>
              <a:rPr lang="ru-RU" noProof="0" dirty="0"/>
              <a:t>СТРОК</a:t>
            </a:r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288" y="129473"/>
            <a:ext cx="6449353" cy="2024373"/>
          </a:xfrm>
          <a:prstGeom prst="rect">
            <a:avLst/>
          </a:prstGeom>
        </p:spPr>
      </p:pic>
      <p:sp>
        <p:nvSpPr>
          <p:cNvPr id="11" name="Прямоугольник 10"/>
          <p:cNvSpPr/>
          <p:nvPr userDrawn="1"/>
        </p:nvSpPr>
        <p:spPr>
          <a:xfrm>
            <a:off x="6330875" y="699248"/>
            <a:ext cx="7148588" cy="846332"/>
          </a:xfrm>
          <a:prstGeom prst="rect">
            <a:avLst/>
          </a:prstGeom>
          <a:solidFill>
            <a:srgbClr val="86868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418" tIns="52209" rIns="104418" bIns="52209" rtlCol="0" anchor="t"/>
          <a:lstStyle/>
          <a:p>
            <a:pPr algn="ctr" defTabSz="1043734" hangingPunct="1"/>
            <a:endParaRPr lang="ru-RU" sz="1300" kern="12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pSp>
        <p:nvGrpSpPr>
          <p:cNvPr id="15" name="Группа 14"/>
          <p:cNvGrpSpPr/>
          <p:nvPr userDrawn="1"/>
        </p:nvGrpSpPr>
        <p:grpSpPr>
          <a:xfrm>
            <a:off x="6562641" y="923295"/>
            <a:ext cx="358488" cy="398238"/>
            <a:chOff x="236048" y="487324"/>
            <a:chExt cx="251124" cy="278969"/>
          </a:xfrm>
        </p:grpSpPr>
        <p:sp>
          <p:nvSpPr>
            <p:cNvPr id="16" name="Нашивка 15"/>
            <p:cNvSpPr/>
            <p:nvPr userDrawn="1"/>
          </p:nvSpPr>
          <p:spPr>
            <a:xfrm>
              <a:off x="350349" y="487324"/>
              <a:ext cx="136823" cy="278969"/>
            </a:xfrm>
            <a:prstGeom prst="chevron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4418" tIns="52209" rIns="104418" bIns="52209" rtlCol="0" anchor="t"/>
            <a:lstStyle/>
            <a:p>
              <a:pPr algn="ctr" defTabSz="1043639" hangingPunct="1"/>
              <a:endParaRPr lang="ru-RU" sz="1300" kern="120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7" name="Нашивка 16"/>
            <p:cNvSpPr/>
            <p:nvPr userDrawn="1"/>
          </p:nvSpPr>
          <p:spPr>
            <a:xfrm>
              <a:off x="236048" y="487324"/>
              <a:ext cx="136823" cy="278969"/>
            </a:xfrm>
            <a:prstGeom prst="chevron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4418" tIns="52209" rIns="104418" bIns="52209" rtlCol="0" anchor="t"/>
            <a:lstStyle/>
            <a:p>
              <a:pPr algn="ctr" defTabSz="1043639" hangingPunct="1"/>
              <a:endParaRPr lang="ru-RU" sz="1300" kern="120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80610678"/>
      </p:ext>
    </p:extLst>
  </p:cSld>
  <p:clrMapOvr>
    <a:masterClrMapping/>
  </p:clrMapOvr>
  <p:transition spd="med"/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Заголовок — в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2000156" y="3051391"/>
            <a:ext cx="7736664" cy="14773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ru-RU" sz="4800" b="1" spc="0" baseline="0" noProof="0" dirty="0" smtClean="0">
                <a:solidFill>
                  <a:srgbClr val="868686"/>
                </a:solidFill>
              </a:defRPr>
            </a:lvl1pPr>
          </a:lstStyle>
          <a:p>
            <a:pPr lvl="0" defTabSz="1012759"/>
            <a:r>
              <a:rPr lang="ru-RU" noProof="0" dirty="0"/>
              <a:t>СПАСИБО </a:t>
            </a:r>
            <a:br>
              <a:rPr lang="ru-RU" noProof="0" dirty="0"/>
            </a:br>
            <a:r>
              <a:rPr lang="ru-RU" noProof="0" dirty="0"/>
              <a:t>ЗА ВНИМАНИЕ</a:t>
            </a:r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288" y="5557527"/>
            <a:ext cx="6449353" cy="2024373"/>
          </a:xfrm>
          <a:prstGeom prst="rect">
            <a:avLst/>
          </a:prstGeom>
        </p:spPr>
      </p:pic>
      <p:sp>
        <p:nvSpPr>
          <p:cNvPr id="11" name="Прямоугольник 10"/>
          <p:cNvSpPr/>
          <p:nvPr userDrawn="1"/>
        </p:nvSpPr>
        <p:spPr>
          <a:xfrm>
            <a:off x="6330875" y="6127302"/>
            <a:ext cx="7148588" cy="846332"/>
          </a:xfrm>
          <a:prstGeom prst="rect">
            <a:avLst/>
          </a:prstGeom>
          <a:solidFill>
            <a:srgbClr val="86868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418" tIns="52209" rIns="104418" bIns="52209" rtlCol="0" anchor="t"/>
          <a:lstStyle/>
          <a:p>
            <a:pPr algn="ctr" defTabSz="1043734" hangingPunct="1"/>
            <a:endParaRPr lang="ru-RU" sz="1300" kern="12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pSp>
        <p:nvGrpSpPr>
          <p:cNvPr id="15" name="Группа 14"/>
          <p:cNvGrpSpPr/>
          <p:nvPr userDrawn="1"/>
        </p:nvGrpSpPr>
        <p:grpSpPr>
          <a:xfrm>
            <a:off x="6562641" y="6351349"/>
            <a:ext cx="358488" cy="398238"/>
            <a:chOff x="236048" y="487324"/>
            <a:chExt cx="251124" cy="278969"/>
          </a:xfrm>
        </p:grpSpPr>
        <p:sp>
          <p:nvSpPr>
            <p:cNvPr id="16" name="Нашивка 15"/>
            <p:cNvSpPr/>
            <p:nvPr userDrawn="1"/>
          </p:nvSpPr>
          <p:spPr>
            <a:xfrm>
              <a:off x="350349" y="487324"/>
              <a:ext cx="136823" cy="278969"/>
            </a:xfrm>
            <a:prstGeom prst="chevron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4418" tIns="52209" rIns="104418" bIns="52209" rtlCol="0" anchor="t"/>
            <a:lstStyle/>
            <a:p>
              <a:pPr algn="ctr" defTabSz="1043639" hangingPunct="1"/>
              <a:endParaRPr lang="ru-RU" sz="1300" kern="120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7" name="Нашивка 16"/>
            <p:cNvSpPr/>
            <p:nvPr userDrawn="1"/>
          </p:nvSpPr>
          <p:spPr>
            <a:xfrm>
              <a:off x="236048" y="487324"/>
              <a:ext cx="136823" cy="278969"/>
            </a:xfrm>
            <a:prstGeom prst="chevron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4418" tIns="52209" rIns="104418" bIns="52209" rtlCol="0" anchor="t"/>
            <a:lstStyle/>
            <a:p>
              <a:pPr algn="ctr" defTabSz="1043639" hangingPunct="1"/>
              <a:endParaRPr lang="ru-RU" sz="1300" kern="120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42164698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597"/>
          <a:stretch/>
        </p:blipFill>
        <p:spPr>
          <a:xfrm>
            <a:off x="-1" y="0"/>
            <a:ext cx="13479463" cy="7581900"/>
          </a:xfrm>
          <a:prstGeom prst="rect">
            <a:avLst/>
          </a:prstGeom>
        </p:spPr>
      </p:pic>
      <p:pic>
        <p:nvPicPr>
          <p:cNvPr id="9" name="Picture 2" descr="http://www.sberbank.ru/portalserver/static/sb-bundle/images/main-logo-always.png"/>
          <p:cNvPicPr>
            <a:picLocks noChangeAspect="1" noChangeArrowheads="1"/>
          </p:cNvPicPr>
          <p:nvPr userDrawn="1"/>
        </p:nvPicPr>
        <p:blipFill>
          <a:blip r:embed="rId3" cstate="email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289049" y="421346"/>
            <a:ext cx="1761627" cy="3933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989144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\\nam04-b\box1\KK_UMK\МАКЕТЫ\обмен\ДЗО\cover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0"/>
            <a:ext cx="13479463" cy="75845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4992465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73973" y="303629"/>
            <a:ext cx="12131517" cy="1263650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73973" y="7027303"/>
            <a:ext cx="3145208" cy="403666"/>
          </a:xfrm>
          <a:prstGeom prst="rect">
            <a:avLst/>
          </a:prstGeom>
        </p:spPr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605483" y="7027303"/>
            <a:ext cx="4268497" cy="403666"/>
          </a:xfrm>
          <a:prstGeom prst="rect">
            <a:avLst/>
          </a:prstGeom>
        </p:spPr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9660282" y="7027303"/>
            <a:ext cx="3145208" cy="403666"/>
          </a:xfrm>
          <a:prstGeom prst="rect">
            <a:avLst/>
          </a:prstGeom>
        </p:spPr>
        <p:txBody>
          <a:bodyPr/>
          <a:lstStyle/>
          <a:p>
            <a:fld id="{CD3FA77A-63D1-40C4-A99F-DCCC8B75DFD0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5683930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2"/>
          <p:cNvSpPr txBox="1">
            <a:spLocks/>
          </p:cNvSpPr>
          <p:nvPr userDrawn="1"/>
        </p:nvSpPr>
        <p:spPr>
          <a:xfrm>
            <a:off x="0" y="404368"/>
            <a:ext cx="13479464" cy="1118228"/>
          </a:xfrm>
          <a:prstGeom prst="rect">
            <a:avLst/>
          </a:prstGeom>
        </p:spPr>
        <p:txBody>
          <a:bodyPr vert="horz" wrap="square" lIns="39632" tIns="19816" rIns="39632" bIns="19816" rtlCol="0" anchor="ctr">
            <a:noAutofit/>
          </a:bodyPr>
          <a:lstStyle>
            <a:lvl1pPr algn="ctr" defTabSz="2056574" rtl="0" eaLnBrk="1" latinLnBrk="0" hangingPunct="1">
              <a:spcBef>
                <a:spcPct val="0"/>
              </a:spcBef>
              <a:buNone/>
              <a:defRPr sz="9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396415" fontAlgn="base">
              <a:lnSpc>
                <a:spcPct val="90000"/>
              </a:lnSpc>
              <a:spcAft>
                <a:spcPct val="0"/>
              </a:spcAft>
            </a:pPr>
            <a:endParaRPr lang="ru-RU" sz="2808" b="1" kern="0" spc="-66" dirty="0">
              <a:solidFill>
                <a:schemeClr val="tx1">
                  <a:lumMod val="75000"/>
                  <a:lumOff val="25000"/>
                </a:schemeClr>
              </a:solidFill>
              <a:effectLst>
                <a:reflection blurRad="6350" stA="28000" endPos="45500" dir="5400000" sy="-100000" algn="bl" rotWithShape="0"/>
              </a:effectLst>
              <a:latin typeface="+mn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548998" y="7202674"/>
            <a:ext cx="526483" cy="21057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>
            <a:lvl1pPr algn="ctr">
              <a:defRPr sz="1053" b="0">
                <a:solidFill>
                  <a:schemeClr val="bg1"/>
                </a:solidFill>
              </a:defRPr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 dirty="0"/>
          </a:p>
        </p:txBody>
      </p:sp>
      <p:cxnSp>
        <p:nvCxnSpPr>
          <p:cNvPr id="3" name="Прямая соединительная линия 2"/>
          <p:cNvCxnSpPr/>
          <p:nvPr userDrawn="1"/>
        </p:nvCxnSpPr>
        <p:spPr>
          <a:xfrm>
            <a:off x="548998" y="7202674"/>
            <a:ext cx="1255135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1" name="Номер слайда 6"/>
          <p:cNvSpPr txBox="1">
            <a:spLocks/>
          </p:cNvSpPr>
          <p:nvPr userDrawn="1"/>
        </p:nvSpPr>
        <p:spPr>
          <a:xfrm>
            <a:off x="12889759" y="7202674"/>
            <a:ext cx="210593" cy="21057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120297" tIns="60150" rIns="120297" bIns="60150" rtlCol="0" anchor="ctr"/>
          <a:lstStyle>
            <a:defPPr>
              <a:defRPr lang="ru-RU"/>
            </a:defPPr>
            <a:lvl1pPr marL="0" algn="ctr" defTabSz="2057195" rtl="0" eaLnBrk="1" latinLnBrk="0" hangingPunct="1"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028597" algn="l" defTabSz="2057195" rtl="0" eaLnBrk="1" latinLnBrk="0" hangingPunct="1">
              <a:defRPr sz="4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057195" algn="l" defTabSz="2057195" rtl="0" eaLnBrk="1" latinLnBrk="0" hangingPunct="1">
              <a:defRPr sz="4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085792" algn="l" defTabSz="2057195" rtl="0" eaLnBrk="1" latinLnBrk="0" hangingPunct="1">
              <a:defRPr sz="4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114388" algn="l" defTabSz="2057195" rtl="0" eaLnBrk="1" latinLnBrk="0" hangingPunct="1">
              <a:defRPr sz="4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142985" algn="l" defTabSz="2057195" rtl="0" eaLnBrk="1" latinLnBrk="0" hangingPunct="1">
              <a:defRPr sz="4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171584" algn="l" defTabSz="2057195" rtl="0" eaLnBrk="1" latinLnBrk="0" hangingPunct="1">
              <a:defRPr sz="4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200180" algn="l" defTabSz="2057195" rtl="0" eaLnBrk="1" latinLnBrk="0" hangingPunct="1">
              <a:defRPr sz="4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228777" algn="l" defTabSz="2057195" rtl="0" eaLnBrk="1" latinLnBrk="0" hangingPunct="1">
              <a:defRPr sz="4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70" dirty="0"/>
              <a:t>&gt;</a:t>
            </a:r>
            <a:endParaRPr lang="ru-RU" sz="1170" dirty="0"/>
          </a:p>
        </p:txBody>
      </p:sp>
      <p:sp>
        <p:nvSpPr>
          <p:cNvPr id="14" name="Номер слайда 6"/>
          <p:cNvSpPr txBox="1">
            <a:spLocks/>
          </p:cNvSpPr>
          <p:nvPr userDrawn="1"/>
        </p:nvSpPr>
        <p:spPr>
          <a:xfrm>
            <a:off x="12636996" y="7202674"/>
            <a:ext cx="210593" cy="21057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120297" tIns="60150" rIns="120297" bIns="60150" rtlCol="0" anchor="ctr"/>
          <a:lstStyle>
            <a:defPPr>
              <a:defRPr lang="ru-RU"/>
            </a:defPPr>
            <a:lvl1pPr marL="0" algn="ctr" defTabSz="2057195" rtl="0" eaLnBrk="1" latinLnBrk="0" hangingPunct="1"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028597" algn="l" defTabSz="2057195" rtl="0" eaLnBrk="1" latinLnBrk="0" hangingPunct="1">
              <a:defRPr sz="4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057195" algn="l" defTabSz="2057195" rtl="0" eaLnBrk="1" latinLnBrk="0" hangingPunct="1">
              <a:defRPr sz="4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085792" algn="l" defTabSz="2057195" rtl="0" eaLnBrk="1" latinLnBrk="0" hangingPunct="1">
              <a:defRPr sz="4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114388" algn="l" defTabSz="2057195" rtl="0" eaLnBrk="1" latinLnBrk="0" hangingPunct="1">
              <a:defRPr sz="4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142985" algn="l" defTabSz="2057195" rtl="0" eaLnBrk="1" latinLnBrk="0" hangingPunct="1">
              <a:defRPr sz="4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171584" algn="l" defTabSz="2057195" rtl="0" eaLnBrk="1" latinLnBrk="0" hangingPunct="1">
              <a:defRPr sz="4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200180" algn="l" defTabSz="2057195" rtl="0" eaLnBrk="1" latinLnBrk="0" hangingPunct="1">
              <a:defRPr sz="4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228777" algn="l" defTabSz="2057195" rtl="0" eaLnBrk="1" latinLnBrk="0" hangingPunct="1">
              <a:defRPr sz="4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70" dirty="0"/>
              <a:t>&lt;</a:t>
            </a:r>
            <a:endParaRPr lang="ru-RU" sz="1170" dirty="0"/>
          </a:p>
        </p:txBody>
      </p:sp>
      <p:pic>
        <p:nvPicPr>
          <p:cNvPr id="15" name="Picture 2" descr="http://www.sberbank.ru/portalserver/static/sb-bundle/images/main-logo-always.png"/>
          <p:cNvPicPr>
            <a:picLocks noChangeAspect="1" noChangeArrowheads="1"/>
          </p:cNvPicPr>
          <p:nvPr userDrawn="1"/>
        </p:nvPicPr>
        <p:blipFill>
          <a:blip r:embed="rId2" cstate="email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363909" y="220294"/>
            <a:ext cx="1981016" cy="4423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cyber_presentation-03.jpg"/>
          <p:cNvPicPr preferRelativeResize="0">
            <a:picLocks/>
          </p:cNvPicPr>
          <p:nvPr userDrawn="1"/>
        </p:nvPicPr>
        <p:blipFill rotWithShape="1">
          <a:blip r:embed="rId3">
            <a:extLst/>
          </a:blip>
          <a:srcRect l="6593" t="5057" r="62039" b="71884"/>
          <a:stretch/>
        </p:blipFill>
        <p:spPr>
          <a:xfrm>
            <a:off x="0" y="137270"/>
            <a:ext cx="1769180" cy="957997"/>
          </a:xfrm>
          <a:prstGeom prst="rect">
            <a:avLst/>
          </a:prstGeom>
          <a:ln w="12700">
            <a:miter lim="400000"/>
          </a:ln>
        </p:spPr>
      </p:pic>
      <p:sp>
        <p:nvSpPr>
          <p:cNvPr id="16" name="Прямоугольник 15"/>
          <p:cNvSpPr/>
          <p:nvPr userDrawn="1"/>
        </p:nvSpPr>
        <p:spPr bwMode="auto">
          <a:xfrm>
            <a:off x="1684933" y="0"/>
            <a:ext cx="84247" cy="1053147"/>
          </a:xfrm>
          <a:prstGeom prst="rect">
            <a:avLst/>
          </a:prstGeom>
          <a:solidFill>
            <a:srgbClr val="D8ECE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53487" tIns="26743" rIns="53487" bIns="26743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sz="1521" dirty="0"/>
          </a:p>
        </p:txBody>
      </p:sp>
    </p:spTree>
    <p:extLst>
      <p:ext uri="{BB962C8B-B14F-4D97-AF65-F5344CB8AC3E}">
        <p14:creationId xmlns:p14="http://schemas.microsoft.com/office/powerpoint/2010/main" val="115911398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9_Заголовок — в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50638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10000">
        <p:fade/>
      </p:transition>
    </mc:Choice>
    <mc:Fallback xmlns="">
      <p:transition spd="med" advClick="0" advTm="10000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0_Заголовок — в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55776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10000">
        <p:fade/>
      </p:transition>
    </mc:Choice>
    <mc:Fallback xmlns="">
      <p:transition spd="med" advClick="0" advTm="10000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1_Заголовок — в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15791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10000">
        <p:fade/>
      </p:transition>
    </mc:Choice>
    <mc:Fallback xmlns="">
      <p:transition spd="med" advClick="0" advTm="10000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DA2EFA30-DABB-044D-B30B-615136224E2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33218" y="14990"/>
            <a:ext cx="3226325" cy="1011361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D21C9F6D-2FCB-E24F-B2A9-9965D7BA0A31}"/>
              </a:ext>
            </a:extLst>
          </p:cNvPr>
          <p:cNvSpPr txBox="1"/>
          <p:nvPr userDrawn="1"/>
        </p:nvSpPr>
        <p:spPr>
          <a:xfrm>
            <a:off x="12725975" y="7194737"/>
            <a:ext cx="68046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6A657A2F-5106-42E2-9B58-332ECA7B8607}" type="slidenum">
              <a:rPr lang="en-US" sz="1600" b="1" smtClean="0">
                <a:solidFill>
                  <a:schemeClr val="bg1">
                    <a:lumMod val="75000"/>
                  </a:schemeClr>
                </a:solidFill>
                <a:latin typeface="+mj-lt"/>
              </a:rPr>
              <a:t>‹#›</a:t>
            </a:fld>
            <a:endParaRPr lang="en-US" sz="1600" b="1" dirty="0">
              <a:solidFill>
                <a:schemeClr val="bg1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4" name="Rectangle 34">
            <a:extLst>
              <a:ext uri="{FF2B5EF4-FFF2-40B4-BE49-F238E27FC236}">
                <a16:creationId xmlns:a16="http://schemas.microsoft.com/office/drawing/2014/main" id="{44899CAB-57B3-2846-94B2-BD2EF98B3D6C}"/>
              </a:ext>
            </a:extLst>
          </p:cNvPr>
          <p:cNvSpPr/>
          <p:nvPr userDrawn="1"/>
        </p:nvSpPr>
        <p:spPr>
          <a:xfrm flipH="1">
            <a:off x="0" y="7539153"/>
            <a:ext cx="13500000" cy="54770"/>
          </a:xfrm>
          <a:prstGeom prst="rect">
            <a:avLst/>
          </a:prstGeom>
          <a:solidFill>
            <a:srgbClr val="84BC2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id="{74C686EB-3F59-8D47-9DB4-44F2EB4A4BF1}"/>
              </a:ext>
            </a:extLst>
          </p:cNvPr>
          <p:cNvCxnSpPr>
            <a:cxnSpLocks/>
          </p:cNvCxnSpPr>
          <p:nvPr userDrawn="1"/>
        </p:nvCxnSpPr>
        <p:spPr>
          <a:xfrm>
            <a:off x="0" y="880946"/>
            <a:ext cx="96480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Заголовок 1">
            <a:extLst>
              <a:ext uri="{FF2B5EF4-FFF2-40B4-BE49-F238E27FC236}">
                <a16:creationId xmlns:a16="http://schemas.microsoft.com/office/drawing/2014/main" id="{BC3FCB37-44B4-EF4E-B86F-5FB59685D3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973" y="303629"/>
            <a:ext cx="8974027" cy="577317"/>
          </a:xfrm>
          <a:prstGeom prst="rect">
            <a:avLst/>
          </a:prstGeom>
        </p:spPr>
        <p:txBody>
          <a:bodyPr/>
          <a:lstStyle>
            <a:lvl1pPr>
              <a:defRPr sz="24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0" name="Parallelogram 40">
            <a:extLst>
              <a:ext uri="{FF2B5EF4-FFF2-40B4-BE49-F238E27FC236}">
                <a16:creationId xmlns:a16="http://schemas.microsoft.com/office/drawing/2014/main" id="{B1D2E15E-28CA-3C42-AE0A-218DA1C09F14}"/>
              </a:ext>
            </a:extLst>
          </p:cNvPr>
          <p:cNvSpPr/>
          <p:nvPr userDrawn="1"/>
        </p:nvSpPr>
        <p:spPr>
          <a:xfrm>
            <a:off x="12166007" y="7183401"/>
            <a:ext cx="661526" cy="361226"/>
          </a:xfrm>
          <a:prstGeom prst="parallelogram">
            <a:avLst>
              <a:gd name="adj" fmla="val 154007"/>
            </a:avLst>
          </a:prstGeom>
          <a:solidFill>
            <a:srgbClr val="84BC2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5593254"/>
      </p:ext>
    </p:extLst>
  </p:cSld>
  <p:clrMapOvr>
    <a:masterClrMapping/>
  </p:clrMapOvr>
  <p:transition spd="med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AED9D351-98BB-5B42-BFA0-36BC10059DE4}"/>
              </a:ext>
            </a:extLst>
          </p:cNvPr>
          <p:cNvSpPr/>
          <p:nvPr userDrawn="1"/>
        </p:nvSpPr>
        <p:spPr>
          <a:xfrm>
            <a:off x="0" y="-2680"/>
            <a:ext cx="13479463" cy="7584580"/>
          </a:xfrm>
          <a:prstGeom prst="rect">
            <a:avLst/>
          </a:prstGeom>
          <a:gradFill flip="none" rotWithShape="1">
            <a:gsLst>
              <a:gs pos="6000">
                <a:schemeClr val="tx1">
                  <a:lumMod val="50000"/>
                  <a:lumOff val="50000"/>
                </a:schemeClr>
              </a:gs>
              <a:gs pos="95000">
                <a:srgbClr val="333333"/>
              </a:gs>
            </a:gsLst>
            <a:path path="circle">
              <a:fillToRect l="100000" t="100000"/>
            </a:path>
            <a:tileRect r="-100000" b="-10000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418" tIns="52209" rIns="104418" bIns="52209" rtlCol="0" anchor="t"/>
          <a:lstStyle/>
          <a:p>
            <a:pPr algn="ctr" defTabSz="1043734" hangingPunct="1"/>
            <a:endParaRPr lang="ru-RU" sz="1300" kern="12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C2AC6244-640B-A944-8ADE-32DA4306A5B3}"/>
              </a:ext>
            </a:extLst>
          </p:cNvPr>
          <p:cNvSpPr/>
          <p:nvPr userDrawn="1"/>
        </p:nvSpPr>
        <p:spPr>
          <a:xfrm>
            <a:off x="512064" y="969264"/>
            <a:ext cx="621792" cy="621792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418" tIns="52209" rIns="104418" bIns="52209" rtlCol="0" anchor="t"/>
          <a:lstStyle/>
          <a:p>
            <a:pPr algn="ctr" defTabSz="1043734" hangingPunct="1"/>
            <a:endParaRPr lang="ru-RU" sz="1300" kern="12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D25CFB02-76A0-5346-9EC2-8A59AF70E171}"/>
              </a:ext>
            </a:extLst>
          </p:cNvPr>
          <p:cNvSpPr/>
          <p:nvPr userDrawn="1"/>
        </p:nvSpPr>
        <p:spPr>
          <a:xfrm>
            <a:off x="1155954" y="347472"/>
            <a:ext cx="621792" cy="621792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418" tIns="52209" rIns="104418" bIns="52209" rtlCol="0" anchor="t"/>
          <a:lstStyle/>
          <a:p>
            <a:pPr algn="ctr" defTabSz="1043734" hangingPunct="1"/>
            <a:endParaRPr lang="ru-RU" sz="1300" kern="12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F9894100-F6D0-BF49-A14C-F4E021F6D275}"/>
              </a:ext>
            </a:extLst>
          </p:cNvPr>
          <p:cNvSpPr/>
          <p:nvPr userDrawn="1"/>
        </p:nvSpPr>
        <p:spPr>
          <a:xfrm>
            <a:off x="2932176" y="168522"/>
            <a:ext cx="621792" cy="621792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418" tIns="52209" rIns="104418" bIns="52209" rtlCol="0" anchor="t"/>
          <a:lstStyle/>
          <a:p>
            <a:pPr algn="ctr" defTabSz="1043734" hangingPunct="1"/>
            <a:endParaRPr lang="ru-RU" sz="1300" kern="12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5C4C29B1-0C15-6D46-8780-6A2C9BD67DB6}"/>
              </a:ext>
            </a:extLst>
          </p:cNvPr>
          <p:cNvSpPr/>
          <p:nvPr userDrawn="1"/>
        </p:nvSpPr>
        <p:spPr>
          <a:xfrm>
            <a:off x="4395216" y="1280160"/>
            <a:ext cx="621792" cy="621792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418" tIns="52209" rIns="104418" bIns="52209" rtlCol="0" anchor="t"/>
          <a:lstStyle/>
          <a:p>
            <a:pPr algn="ctr" defTabSz="1043734" hangingPunct="1"/>
            <a:endParaRPr lang="ru-RU" sz="1300" kern="12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A88874FD-83FD-5443-BC0D-213D81E750F4}"/>
              </a:ext>
            </a:extLst>
          </p:cNvPr>
          <p:cNvSpPr/>
          <p:nvPr userDrawn="1"/>
        </p:nvSpPr>
        <p:spPr>
          <a:xfrm>
            <a:off x="12467590" y="1280160"/>
            <a:ext cx="621792" cy="621792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418" tIns="52209" rIns="104418" bIns="52209" rtlCol="0" anchor="t"/>
          <a:lstStyle/>
          <a:p>
            <a:pPr algn="ctr" defTabSz="1043734" hangingPunct="1"/>
            <a:endParaRPr lang="ru-RU" sz="1300" kern="12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BA012197-B846-0B4B-B254-19C4D4AE173C}"/>
              </a:ext>
            </a:extLst>
          </p:cNvPr>
          <p:cNvSpPr/>
          <p:nvPr userDrawn="1"/>
        </p:nvSpPr>
        <p:spPr>
          <a:xfrm>
            <a:off x="12531280" y="4400664"/>
            <a:ext cx="621792" cy="621792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418" tIns="52209" rIns="104418" bIns="52209" rtlCol="0" anchor="t"/>
          <a:lstStyle/>
          <a:p>
            <a:pPr algn="ctr" defTabSz="1043734" hangingPunct="1"/>
            <a:endParaRPr lang="ru-RU" sz="1300" kern="12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CA1F4E0A-2A12-5145-AD6C-E581CFCABB5F}"/>
              </a:ext>
            </a:extLst>
          </p:cNvPr>
          <p:cNvSpPr/>
          <p:nvPr userDrawn="1"/>
        </p:nvSpPr>
        <p:spPr>
          <a:xfrm>
            <a:off x="11936602" y="5886196"/>
            <a:ext cx="621792" cy="621792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418" tIns="52209" rIns="104418" bIns="52209" rtlCol="0" anchor="t"/>
          <a:lstStyle/>
          <a:p>
            <a:pPr algn="ctr" defTabSz="1043734" hangingPunct="1"/>
            <a:endParaRPr lang="ru-RU" sz="1300" kern="12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46582B87-58E8-6D4A-8B19-09FE25E1D069}"/>
              </a:ext>
            </a:extLst>
          </p:cNvPr>
          <p:cNvSpPr/>
          <p:nvPr userDrawn="1"/>
        </p:nvSpPr>
        <p:spPr>
          <a:xfrm>
            <a:off x="8436864" y="6685744"/>
            <a:ext cx="621792" cy="621792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418" tIns="52209" rIns="104418" bIns="52209" rtlCol="0" anchor="t"/>
          <a:lstStyle/>
          <a:p>
            <a:pPr algn="ctr" defTabSz="1043734" hangingPunct="1"/>
            <a:endParaRPr lang="ru-RU" sz="1300" kern="12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09C6CE3A-D670-7D46-BFA6-D571D4734872}"/>
              </a:ext>
            </a:extLst>
          </p:cNvPr>
          <p:cNvSpPr/>
          <p:nvPr userDrawn="1"/>
        </p:nvSpPr>
        <p:spPr>
          <a:xfrm>
            <a:off x="7815072" y="6063952"/>
            <a:ext cx="621792" cy="621792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418" tIns="52209" rIns="104418" bIns="52209" rtlCol="0" anchor="t"/>
          <a:lstStyle/>
          <a:p>
            <a:pPr algn="ctr" defTabSz="1043734" hangingPunct="1"/>
            <a:endParaRPr lang="ru-RU" sz="1300" kern="12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2142C45D-7638-C34B-8691-90683EB51883}"/>
              </a:ext>
            </a:extLst>
          </p:cNvPr>
          <p:cNvSpPr/>
          <p:nvPr userDrawn="1"/>
        </p:nvSpPr>
        <p:spPr>
          <a:xfrm>
            <a:off x="5218176" y="6685744"/>
            <a:ext cx="621792" cy="621792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418" tIns="52209" rIns="104418" bIns="52209" rtlCol="0" anchor="t"/>
          <a:lstStyle/>
          <a:p>
            <a:pPr algn="ctr" defTabSz="1043734" hangingPunct="1"/>
            <a:endParaRPr lang="ru-RU" sz="1300" kern="12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9605C579-9365-5141-A0DA-87A75684A685}"/>
              </a:ext>
            </a:extLst>
          </p:cNvPr>
          <p:cNvSpPr/>
          <p:nvPr userDrawn="1"/>
        </p:nvSpPr>
        <p:spPr>
          <a:xfrm>
            <a:off x="4596384" y="6063952"/>
            <a:ext cx="621792" cy="621792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418" tIns="52209" rIns="104418" bIns="52209" rtlCol="0" anchor="t"/>
          <a:lstStyle/>
          <a:p>
            <a:pPr algn="ctr" defTabSz="1043734" hangingPunct="1"/>
            <a:endParaRPr lang="ru-RU" sz="1300" kern="12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E5415E96-6975-2A4F-870C-1C2604D001E3}"/>
              </a:ext>
            </a:extLst>
          </p:cNvPr>
          <p:cNvSpPr/>
          <p:nvPr userDrawn="1"/>
        </p:nvSpPr>
        <p:spPr>
          <a:xfrm>
            <a:off x="1945895" y="6061228"/>
            <a:ext cx="621792" cy="621792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418" tIns="52209" rIns="104418" bIns="52209" rtlCol="0" anchor="t"/>
          <a:lstStyle/>
          <a:p>
            <a:pPr algn="ctr" defTabSz="1043734" hangingPunct="1"/>
            <a:endParaRPr lang="ru-RU" sz="1300" kern="12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A0B35CA3-88DC-234F-B353-5D8C90A593F4}"/>
              </a:ext>
            </a:extLst>
          </p:cNvPr>
          <p:cNvSpPr/>
          <p:nvPr userDrawn="1"/>
        </p:nvSpPr>
        <p:spPr>
          <a:xfrm>
            <a:off x="1342391" y="5439436"/>
            <a:ext cx="621792" cy="621792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418" tIns="52209" rIns="104418" bIns="52209" rtlCol="0" anchor="t"/>
          <a:lstStyle/>
          <a:p>
            <a:pPr algn="ctr" defTabSz="1043734" hangingPunct="1"/>
            <a:endParaRPr lang="ru-RU" sz="1300" kern="12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B51F4950-7A1D-DF48-A5EC-58AB665DC3F3}"/>
              </a:ext>
            </a:extLst>
          </p:cNvPr>
          <p:cNvSpPr/>
          <p:nvPr userDrawn="1"/>
        </p:nvSpPr>
        <p:spPr>
          <a:xfrm>
            <a:off x="702311" y="6079516"/>
            <a:ext cx="621792" cy="621792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418" tIns="52209" rIns="104418" bIns="52209" rtlCol="0" anchor="t"/>
          <a:lstStyle/>
          <a:p>
            <a:pPr algn="ctr" defTabSz="1043734" hangingPunct="1"/>
            <a:endParaRPr lang="ru-RU" sz="1300" kern="12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0194999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3_Заголовок — в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2"/>
          <p:cNvSpPr/>
          <p:nvPr userDrawn="1"/>
        </p:nvSpPr>
        <p:spPr>
          <a:xfrm>
            <a:off x="0" y="0"/>
            <a:ext cx="13479463" cy="1253616"/>
          </a:xfrm>
          <a:prstGeom prst="rect">
            <a:avLst/>
          </a:prstGeom>
          <a:solidFill>
            <a:srgbClr val="333333"/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418" tIns="52209" rIns="104418" bIns="52209" rtlCol="0" anchor="t"/>
          <a:lstStyle/>
          <a:p>
            <a:pPr algn="ctr" defTabSz="1043734" hangingPunct="1"/>
            <a:endParaRPr lang="ru-RU" sz="1300" kern="12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5" name="Прямоугольник 14"/>
          <p:cNvSpPr/>
          <p:nvPr userDrawn="1"/>
        </p:nvSpPr>
        <p:spPr>
          <a:xfrm>
            <a:off x="3" y="7341550"/>
            <a:ext cx="12477759" cy="240357"/>
          </a:xfrm>
          <a:prstGeom prst="rect">
            <a:avLst/>
          </a:prstGeom>
          <a:solidFill>
            <a:srgbClr val="333333"/>
          </a:solidFill>
          <a:ln w="9525">
            <a:noFill/>
          </a:ln>
          <a:effectLst>
            <a:outerShdw blurRad="50800" dist="38100" dir="16200000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557" tIns="44793" rIns="89557" bIns="44793" rtlCol="0" anchor="ctr"/>
          <a:lstStyle/>
          <a:p>
            <a:pPr algn="ctr"/>
            <a:endParaRPr lang="ru-RU" sz="2600" dirty="0">
              <a:solidFill>
                <a:schemeClr val="tx1"/>
              </a:solidFill>
            </a:endParaRPr>
          </a:p>
        </p:txBody>
      </p:sp>
      <p:sp>
        <p:nvSpPr>
          <p:cNvPr id="16" name="Shape 48"/>
          <p:cNvSpPr>
            <a:spLocks noGrp="1"/>
          </p:cNvSpPr>
          <p:nvPr>
            <p:ph type="title" hasCustomPrompt="1"/>
          </p:nvPr>
        </p:nvSpPr>
        <p:spPr>
          <a:xfrm>
            <a:off x="720000" y="427690"/>
            <a:ext cx="9115829" cy="398237"/>
          </a:xfrm>
          <a:prstGeom prst="rect">
            <a:avLst/>
          </a:prstGeom>
          <a:noFill/>
        </p:spPr>
        <p:txBody>
          <a:bodyPr lIns="0" tIns="44793" rIns="89557" bIns="44793" anchor="t">
            <a:spAutoFit/>
          </a:bodyPr>
          <a:lstStyle>
            <a:lvl1pPr algn="l">
              <a:defRPr sz="2000" b="0" cap="none">
                <a:solidFill>
                  <a:schemeClr val="bg1"/>
                </a:solidFill>
                <a:latin typeface="Arial"/>
                <a:cs typeface="Arial"/>
                <a:sym typeface="Arial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sp>
        <p:nvSpPr>
          <p:cNvPr id="17" name="Rectangle 102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727374" y="1381548"/>
            <a:ext cx="6748090" cy="26161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0" marR="0" indent="0" algn="l" defTabSz="105297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  <a:defRPr lang="en-US" sz="1700" b="1" smtClean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105297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  <a:defRPr/>
            </a:pPr>
            <a:r>
              <a:rPr lang="ru-RU" sz="1700" b="1" dirty="0">
                <a:solidFill>
                  <a:schemeClr val="accent2"/>
                </a:solidFill>
                <a:latin typeface="+mj-lt"/>
              </a:rPr>
              <a:t>Подзаголовок</a:t>
            </a:r>
            <a:endParaRPr lang="en-US" sz="1700" b="1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18" name="Shape 49"/>
          <p:cNvSpPr>
            <a:spLocks noGrp="1"/>
          </p:cNvSpPr>
          <p:nvPr>
            <p:ph type="sldNum" sz="quarter" idx="2"/>
          </p:nvPr>
        </p:nvSpPr>
        <p:spPr>
          <a:xfrm>
            <a:off x="12129923" y="7348994"/>
            <a:ext cx="1301158" cy="256779"/>
          </a:xfrm>
          <a:prstGeom prst="rect">
            <a:avLst/>
          </a:prstGeom>
        </p:spPr>
        <p:txBody>
          <a:bodyPr lIns="89557" tIns="0" rIns="89557" bIns="44793"/>
          <a:lstStyle>
            <a:lvl1pPr>
              <a:defRPr sz="1400" b="1">
                <a:solidFill>
                  <a:srgbClr val="333333"/>
                </a:solidFill>
                <a:latin typeface="+mj-lt"/>
              </a:defRPr>
            </a:lvl1pPr>
          </a:lstStyle>
          <a:p>
            <a:fld id="{86CB4B4D-7CA3-9044-876B-883B54F8677D}" type="slidenum">
              <a:rPr lang="ru-RU" smtClean="0"/>
              <a:pPr/>
              <a:t>‹#›</a:t>
            </a:fld>
            <a:endParaRPr lang="ru-RU" dirty="0"/>
          </a:p>
        </p:txBody>
      </p:sp>
      <p:grpSp>
        <p:nvGrpSpPr>
          <p:cNvPr id="19" name="Группа 18"/>
          <p:cNvGrpSpPr/>
          <p:nvPr userDrawn="1"/>
        </p:nvGrpSpPr>
        <p:grpSpPr>
          <a:xfrm>
            <a:off x="182366" y="427690"/>
            <a:ext cx="358488" cy="398238"/>
            <a:chOff x="236048" y="487324"/>
            <a:chExt cx="251124" cy="278969"/>
          </a:xfrm>
        </p:grpSpPr>
        <p:sp>
          <p:nvSpPr>
            <p:cNvPr id="20" name="Нашивка 19"/>
            <p:cNvSpPr/>
            <p:nvPr userDrawn="1"/>
          </p:nvSpPr>
          <p:spPr>
            <a:xfrm>
              <a:off x="350349" y="487324"/>
              <a:ext cx="136823" cy="278969"/>
            </a:xfrm>
            <a:prstGeom prst="chevron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4418" tIns="52209" rIns="104418" bIns="52209" rtlCol="0" anchor="t"/>
            <a:lstStyle/>
            <a:p>
              <a:pPr algn="ctr" defTabSz="1043639" hangingPunct="1"/>
              <a:endParaRPr lang="ru-RU" sz="1300" kern="120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1" name="Нашивка 20"/>
            <p:cNvSpPr/>
            <p:nvPr userDrawn="1"/>
          </p:nvSpPr>
          <p:spPr>
            <a:xfrm>
              <a:off x="236048" y="487324"/>
              <a:ext cx="136823" cy="278969"/>
            </a:xfrm>
            <a:prstGeom prst="chevron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4418" tIns="52209" rIns="104418" bIns="52209" rtlCol="0" anchor="t"/>
            <a:lstStyle/>
            <a:p>
              <a:pPr algn="ctr" defTabSz="1043639" hangingPunct="1"/>
              <a:endParaRPr lang="ru-RU" sz="1300" kern="120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</p:grpSp>
      <p:sp>
        <p:nvSpPr>
          <p:cNvPr id="22" name="Прямоугольник 21"/>
          <p:cNvSpPr/>
          <p:nvPr userDrawn="1"/>
        </p:nvSpPr>
        <p:spPr>
          <a:xfrm>
            <a:off x="13083245" y="7341550"/>
            <a:ext cx="396218" cy="240357"/>
          </a:xfrm>
          <a:prstGeom prst="rect">
            <a:avLst/>
          </a:prstGeom>
          <a:solidFill>
            <a:srgbClr val="333333"/>
          </a:solidFill>
          <a:ln w="9525">
            <a:noFill/>
          </a:ln>
          <a:effectLst>
            <a:outerShdw blurRad="50800" dist="38100" dir="16200000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557" tIns="44793" rIns="89557" bIns="44793" rtlCol="0" anchor="ctr"/>
          <a:lstStyle/>
          <a:p>
            <a:pPr algn="ctr"/>
            <a:endParaRPr lang="ru-RU" sz="2600" dirty="0">
              <a:solidFill>
                <a:schemeClr val="tx1"/>
              </a:solidFill>
            </a:endParaRPr>
          </a:p>
        </p:txBody>
      </p:sp>
      <p:pic>
        <p:nvPicPr>
          <p:cNvPr id="23" name="Рисунок 2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6000" y="266808"/>
            <a:ext cx="1570507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2494865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pos="458">
          <p15:clr>
            <a:srgbClr val="FBAE40"/>
          </p15:clr>
        </p15:guide>
        <p15:guide id="2" pos="8237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и объект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/>
          <p:cNvSpPr/>
          <p:nvPr userDrawn="1"/>
        </p:nvSpPr>
        <p:spPr>
          <a:xfrm>
            <a:off x="0" y="977179"/>
            <a:ext cx="13479463" cy="6604720"/>
          </a:xfrm>
          <a:prstGeom prst="rect">
            <a:avLst/>
          </a:prstGeom>
          <a:solidFill>
            <a:schemeClr val="tx1">
              <a:lumMod val="95000"/>
              <a:lumOff val="5000"/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833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73973" y="7027300"/>
            <a:ext cx="3145208" cy="403666"/>
          </a:xfrm>
          <a:prstGeom prst="rect">
            <a:avLst/>
          </a:prstGeom>
        </p:spPr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605483" y="7027300"/>
            <a:ext cx="4268497" cy="403666"/>
          </a:xfrm>
          <a:prstGeom prst="rect">
            <a:avLst/>
          </a:prstGeom>
        </p:spPr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0255927" y="7102363"/>
            <a:ext cx="3145208" cy="403666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fld id="{7C6E3FD1-BD25-42B3-BA47-9CD7CB222973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1" y="0"/>
            <a:ext cx="13479462" cy="977178"/>
          </a:xfrm>
          <a:prstGeom prst="rect">
            <a:avLst/>
          </a:prstGeom>
          <a:solidFill>
            <a:schemeClr val="bg1">
              <a:alpha val="7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30667" tIns="67395" rIns="134789" bIns="673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ru-RU" sz="2064" b="1" dirty="0">
              <a:solidFill>
                <a:srgbClr val="2A4B52"/>
              </a:solidFill>
            </a:endParaRPr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86401" y="169009"/>
            <a:ext cx="2456075" cy="653949"/>
          </a:xfrm>
          <a:prstGeom prst="rect">
            <a:avLst/>
          </a:prstGeom>
        </p:spPr>
      </p:pic>
      <p:grpSp>
        <p:nvGrpSpPr>
          <p:cNvPr id="9" name="Группа 8"/>
          <p:cNvGrpSpPr/>
          <p:nvPr userDrawn="1"/>
        </p:nvGrpSpPr>
        <p:grpSpPr>
          <a:xfrm>
            <a:off x="105401" y="304242"/>
            <a:ext cx="363811" cy="368695"/>
            <a:chOff x="44659" y="206395"/>
            <a:chExt cx="246797" cy="250120"/>
          </a:xfrm>
        </p:grpSpPr>
        <p:sp>
          <p:nvSpPr>
            <p:cNvPr id="10" name="Параллелограмм 9"/>
            <p:cNvSpPr/>
            <p:nvPr/>
          </p:nvSpPr>
          <p:spPr>
            <a:xfrm>
              <a:off x="44659" y="206395"/>
              <a:ext cx="161856" cy="250120"/>
            </a:xfrm>
            <a:prstGeom prst="parallelogram">
              <a:avLst>
                <a:gd name="adj" fmla="val 63920"/>
              </a:avLst>
            </a:prstGeom>
            <a:solidFill>
              <a:srgbClr val="2A4B5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3833" dirty="0"/>
            </a:p>
          </p:txBody>
        </p:sp>
        <p:sp>
          <p:nvSpPr>
            <p:cNvPr id="11" name="Параллелограмм 10"/>
            <p:cNvSpPr/>
            <p:nvPr/>
          </p:nvSpPr>
          <p:spPr>
            <a:xfrm>
              <a:off x="129600" y="206395"/>
              <a:ext cx="161856" cy="250120"/>
            </a:xfrm>
            <a:prstGeom prst="parallelogram">
              <a:avLst>
                <a:gd name="adj" fmla="val 63920"/>
              </a:avLst>
            </a:prstGeom>
            <a:solidFill>
              <a:srgbClr val="2A4B5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3833" dirty="0"/>
            </a:p>
          </p:txBody>
        </p:sp>
      </p:grp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805490" cy="977178"/>
          </a:xfrm>
          <a:prstGeom prst="rect">
            <a:avLst/>
          </a:prstGeom>
        </p:spPr>
        <p:txBody>
          <a:bodyPr lIns="360000">
            <a:normAutofit/>
          </a:bodyPr>
          <a:lstStyle>
            <a:lvl1pPr algn="l">
              <a:defRPr sz="2064" b="1">
                <a:solidFill>
                  <a:srgbClr val="2A4B52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07072700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Заголовок и объект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/>
          <p:cNvSpPr/>
          <p:nvPr userDrawn="1"/>
        </p:nvSpPr>
        <p:spPr>
          <a:xfrm>
            <a:off x="0" y="1"/>
            <a:ext cx="13479463" cy="7581899"/>
          </a:xfrm>
          <a:prstGeom prst="rect">
            <a:avLst/>
          </a:prstGeom>
          <a:solidFill>
            <a:schemeClr val="tx1">
              <a:lumMod val="95000"/>
              <a:lumOff val="5000"/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833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73973" y="7027300"/>
            <a:ext cx="3145208" cy="403666"/>
          </a:xfrm>
          <a:prstGeom prst="rect">
            <a:avLst/>
          </a:prstGeom>
        </p:spPr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605483" y="7027300"/>
            <a:ext cx="4268497" cy="403666"/>
          </a:xfrm>
          <a:prstGeom prst="rect">
            <a:avLst/>
          </a:prstGeom>
        </p:spPr>
        <p:txBody>
          <a:bodyPr/>
          <a:lstStyle/>
          <a:p>
            <a:endParaRPr lang="ru-RU" dirty="0"/>
          </a:p>
        </p:txBody>
      </p:sp>
      <p:sp>
        <p:nvSpPr>
          <p:cNvPr id="7" name="Shape 49"/>
          <p:cNvSpPr>
            <a:spLocks noGrp="1"/>
          </p:cNvSpPr>
          <p:nvPr>
            <p:ph type="sldNum" sz="quarter" idx="2"/>
          </p:nvPr>
        </p:nvSpPr>
        <p:spPr>
          <a:xfrm>
            <a:off x="12129923" y="7348994"/>
            <a:ext cx="1301158" cy="256779"/>
          </a:xfrm>
          <a:prstGeom prst="rect">
            <a:avLst/>
          </a:prstGeom>
        </p:spPr>
        <p:txBody>
          <a:bodyPr lIns="89557" tIns="0" rIns="89557" bIns="44793"/>
          <a:lstStyle>
            <a:lvl1pPr>
              <a:defRPr sz="1400" b="1">
                <a:solidFill>
                  <a:schemeClr val="bg1"/>
                </a:solidFill>
                <a:latin typeface="+mj-lt"/>
              </a:defRPr>
            </a:lvl1pPr>
          </a:lstStyle>
          <a:p>
            <a:fld id="{86CB4B4D-7CA3-9044-876B-883B54F8677D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6000" y="266808"/>
            <a:ext cx="1569044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311162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6263" y="228133"/>
            <a:ext cx="13003200" cy="514800"/>
          </a:xfrm>
          <a:prstGeom prst="rect">
            <a:avLst/>
          </a:prstGeom>
          <a:solidFill>
            <a:schemeClr val="accent3">
              <a:lumMod val="50000"/>
              <a:alpha val="5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792" tIns="67396" rIns="134792" bIns="67396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kumimoji="0" lang="ru-RU" sz="2600" b="0" i="0" u="none" strike="noStrike" cap="none" spc="0" normalizeH="0" baseline="0">
                <a:ln>
                  <a:noFill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marL="0" marR="0" lvl="0" indent="0" algn="l" defTabSz="444753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ru-RU" dirty="0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673973" y="7027300"/>
            <a:ext cx="3145208" cy="403666"/>
          </a:xfrm>
          <a:prstGeom prst="rect">
            <a:avLst/>
          </a:prstGeom>
        </p:spPr>
        <p:txBody>
          <a:bodyPr/>
          <a:lstStyle/>
          <a:p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4605483" y="7027300"/>
            <a:ext cx="4268497" cy="403666"/>
          </a:xfrm>
          <a:prstGeom prst="rect">
            <a:avLst/>
          </a:prstGeom>
        </p:spPr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10320057" y="7154625"/>
            <a:ext cx="3145208" cy="403666"/>
          </a:xfrm>
          <a:prstGeom prst="rect">
            <a:avLst/>
          </a:prstGeom>
        </p:spPr>
        <p:txBody>
          <a:bodyPr/>
          <a:lstStyle/>
          <a:p>
            <a:fld id="{7C6E3FD1-BD25-42B3-BA47-9CD7CB222973}" type="slidenum">
              <a:rPr lang="ru-RU" smtClean="0"/>
              <a:t>‹#›</a:t>
            </a:fld>
            <a:endParaRPr lang="ru-RU" dirty="0"/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25404"/>
            <a:ext cx="476923" cy="5138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06788" y="221748"/>
            <a:ext cx="1172713" cy="521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045804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Пользовательский макет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 userDrawn="1"/>
        </p:nvSpPr>
        <p:spPr>
          <a:xfrm>
            <a:off x="-12700" y="-12697"/>
            <a:ext cx="13504845" cy="1295400"/>
          </a:xfrm>
          <a:prstGeom prst="rect">
            <a:avLst/>
          </a:prstGeom>
          <a:solidFill>
            <a:srgbClr val="80B62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404" tIns="52201" rIns="104404" bIns="52201" rtlCol="0" anchor="t"/>
          <a:lstStyle/>
          <a:p>
            <a:pPr algn="ctr" defTabSz="1043611"/>
            <a:endParaRPr lang="ru-RU" sz="1327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00492" y="283205"/>
            <a:ext cx="12914347" cy="6904389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>
            <a:outerShdw blurRad="4572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404" tIns="52201" rIns="104404" bIns="52201" rtlCol="0" anchor="t"/>
          <a:lstStyle/>
          <a:p>
            <a:pPr algn="ctr" defTabSz="1043611"/>
            <a:endParaRPr lang="ru-RU" sz="1327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299986" y="279401"/>
            <a:ext cx="12914853" cy="1003301"/>
          </a:xfrm>
          <a:prstGeom prst="rect">
            <a:avLst/>
          </a:prstGeom>
          <a:solidFill>
            <a:srgbClr val="84BC2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404" tIns="52201" rIns="104404" bIns="52201" rtlCol="0" anchor="t"/>
          <a:lstStyle/>
          <a:p>
            <a:pPr algn="ctr" defTabSz="1043611"/>
            <a:endParaRPr lang="ru-RU" sz="1327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9" name="Овал 8"/>
          <p:cNvSpPr/>
          <p:nvPr userDrawn="1"/>
        </p:nvSpPr>
        <p:spPr>
          <a:xfrm>
            <a:off x="12260927" y="385794"/>
            <a:ext cx="824455" cy="824456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404" tIns="52201" rIns="104404" bIns="52201" rtlCol="0" anchor="t"/>
          <a:lstStyle/>
          <a:p>
            <a:pPr algn="ctr" defTabSz="1043611"/>
            <a:endParaRPr lang="ru-RU" sz="1327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pic>
        <p:nvPicPr>
          <p:cNvPr id="10" name="Picture 5" descr="E:\logo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94798" y="422448"/>
            <a:ext cx="756712" cy="7511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8235493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 descr="Изображение выглядит как наружный объект&#10;&#10;Автоматически созданное описание">
            <a:extLst>
              <a:ext uri="{FF2B5EF4-FFF2-40B4-BE49-F238E27FC236}">
                <a16:creationId xmlns:a16="http://schemas.microsoft.com/office/drawing/2014/main" id="{7B75B95C-4CE4-E245-B704-FF11597564B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196" b="-2"/>
          <a:stretch/>
        </p:blipFill>
        <p:spPr>
          <a:xfrm flipH="1">
            <a:off x="5501385" y="10"/>
            <a:ext cx="8333678" cy="7581890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-1" y="0"/>
            <a:ext cx="6739732" cy="7118562"/>
          </a:xfrm>
          <a:prstGeom prst="rect">
            <a:avLst/>
          </a:prstGeom>
          <a:solidFill>
            <a:srgbClr val="92D050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75" dirty="0"/>
          </a:p>
        </p:txBody>
      </p:sp>
      <p:sp>
        <p:nvSpPr>
          <p:cNvPr id="19" name="Shape 49">
            <a:extLst>
              <a:ext uri="{FF2B5EF4-FFF2-40B4-BE49-F238E27FC236}">
                <a16:creationId xmlns:a16="http://schemas.microsoft.com/office/drawing/2014/main" id="{4CC89A44-CA25-6F46-84C4-EA2BC02DB53D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>
          <a:xfrm>
            <a:off x="12129923" y="7348994"/>
            <a:ext cx="1301158" cy="256779"/>
          </a:xfrm>
          <a:prstGeom prst="rect">
            <a:avLst/>
          </a:prstGeom>
        </p:spPr>
        <p:txBody>
          <a:bodyPr lIns="89557" tIns="0" rIns="89557" bIns="44793"/>
          <a:lstStyle>
            <a:lvl1pPr>
              <a:defRPr sz="1400" b="1">
                <a:solidFill>
                  <a:srgbClr val="868686"/>
                </a:solidFill>
                <a:latin typeface="+mj-lt"/>
              </a:defRPr>
            </a:lvl1pPr>
          </a:lstStyle>
          <a:p>
            <a:fld id="{86CB4B4D-7CA3-9044-876B-883B54F8677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899699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-1" y="0"/>
            <a:ext cx="5932968" cy="7118562"/>
          </a:xfrm>
          <a:prstGeom prst="rect">
            <a:avLst/>
          </a:prstGeom>
          <a:solidFill>
            <a:srgbClr val="92D050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75" dirty="0"/>
          </a:p>
        </p:txBody>
      </p:sp>
      <p:sp>
        <p:nvSpPr>
          <p:cNvPr id="5" name="Shape 49">
            <a:extLst>
              <a:ext uri="{FF2B5EF4-FFF2-40B4-BE49-F238E27FC236}">
                <a16:creationId xmlns:a16="http://schemas.microsoft.com/office/drawing/2014/main" id="{B51E8038-C69B-A441-A99B-A79F76ECFCE0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>
          <a:xfrm>
            <a:off x="12129923" y="7348994"/>
            <a:ext cx="1301158" cy="256779"/>
          </a:xfrm>
          <a:prstGeom prst="rect">
            <a:avLst/>
          </a:prstGeom>
        </p:spPr>
        <p:txBody>
          <a:bodyPr lIns="89557" tIns="0" rIns="89557" bIns="44793"/>
          <a:lstStyle>
            <a:lvl1pPr>
              <a:defRPr sz="1400" b="1">
                <a:solidFill>
                  <a:srgbClr val="868686"/>
                </a:solidFill>
                <a:latin typeface="+mj-lt"/>
              </a:defRPr>
            </a:lvl1pPr>
          </a:lstStyle>
          <a:p>
            <a:fld id="{86CB4B4D-7CA3-9044-876B-883B54F8677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6385025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-1" y="0"/>
            <a:ext cx="4734047" cy="7118562"/>
          </a:xfrm>
          <a:prstGeom prst="rect">
            <a:avLst/>
          </a:prstGeom>
          <a:solidFill>
            <a:srgbClr val="92D050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75" dirty="0"/>
          </a:p>
        </p:txBody>
      </p:sp>
      <p:sp>
        <p:nvSpPr>
          <p:cNvPr id="5" name="Shape 49">
            <a:extLst>
              <a:ext uri="{FF2B5EF4-FFF2-40B4-BE49-F238E27FC236}">
                <a16:creationId xmlns:a16="http://schemas.microsoft.com/office/drawing/2014/main" id="{B51E8038-C69B-A441-A99B-A79F76ECFCE0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>
          <a:xfrm>
            <a:off x="12129923" y="7348994"/>
            <a:ext cx="1301158" cy="256779"/>
          </a:xfrm>
          <a:prstGeom prst="rect">
            <a:avLst/>
          </a:prstGeom>
        </p:spPr>
        <p:txBody>
          <a:bodyPr lIns="89557" tIns="0" rIns="89557" bIns="44793"/>
          <a:lstStyle>
            <a:lvl1pPr>
              <a:defRPr sz="1400" b="1">
                <a:solidFill>
                  <a:srgbClr val="868686"/>
                </a:solidFill>
                <a:latin typeface="+mj-lt"/>
              </a:defRPr>
            </a:lvl1pPr>
          </a:lstStyle>
          <a:p>
            <a:fld id="{86CB4B4D-7CA3-9044-876B-883B54F8677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1944101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2248" b="20588"/>
          <a:stretch/>
        </p:blipFill>
        <p:spPr>
          <a:xfrm>
            <a:off x="-1" y="-1"/>
            <a:ext cx="6739733" cy="7118563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0" y="0"/>
            <a:ext cx="6739732" cy="7118562"/>
          </a:xfrm>
          <a:prstGeom prst="rect">
            <a:avLst/>
          </a:prstGeom>
          <a:solidFill>
            <a:srgbClr val="92D050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75" dirty="0"/>
          </a:p>
        </p:txBody>
      </p:sp>
      <p:sp>
        <p:nvSpPr>
          <p:cNvPr id="7" name="Shape 49">
            <a:extLst>
              <a:ext uri="{FF2B5EF4-FFF2-40B4-BE49-F238E27FC236}">
                <a16:creationId xmlns:a16="http://schemas.microsoft.com/office/drawing/2014/main" id="{4E941364-082D-694A-8121-D79FBFDC65AA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>
          <a:xfrm>
            <a:off x="12129923" y="7348994"/>
            <a:ext cx="1301158" cy="256779"/>
          </a:xfrm>
          <a:prstGeom prst="rect">
            <a:avLst/>
          </a:prstGeom>
        </p:spPr>
        <p:txBody>
          <a:bodyPr lIns="89557" tIns="0" rIns="89557" bIns="44793"/>
          <a:lstStyle>
            <a:lvl1pPr>
              <a:defRPr sz="1400" b="1">
                <a:solidFill>
                  <a:srgbClr val="868686"/>
                </a:solidFill>
                <a:latin typeface="+mj-lt"/>
              </a:defRPr>
            </a:lvl1pPr>
          </a:lstStyle>
          <a:p>
            <a:fld id="{86CB4B4D-7CA3-9044-876B-883B54F8677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1510707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Группа 20">
            <a:extLst>
              <a:ext uri="{FF2B5EF4-FFF2-40B4-BE49-F238E27FC236}">
                <a16:creationId xmlns:a16="http://schemas.microsoft.com/office/drawing/2014/main" id="{A8C555B5-3073-684C-AB41-D8D127EBCA03}"/>
              </a:ext>
            </a:extLst>
          </p:cNvPr>
          <p:cNvGrpSpPr/>
          <p:nvPr userDrawn="1"/>
        </p:nvGrpSpPr>
        <p:grpSpPr>
          <a:xfrm>
            <a:off x="0" y="0"/>
            <a:ext cx="13479463" cy="7581900"/>
            <a:chOff x="173736" y="0"/>
            <a:chExt cx="13479463" cy="7581900"/>
          </a:xfrm>
        </p:grpSpPr>
        <p:pic>
          <p:nvPicPr>
            <p:cNvPr id="15" name="Рисунок 14" descr="Изображение выглядит как текст&#10;&#10;Автоматически созданное описание">
              <a:extLst>
                <a:ext uri="{FF2B5EF4-FFF2-40B4-BE49-F238E27FC236}">
                  <a16:creationId xmlns:a16="http://schemas.microsoft.com/office/drawing/2014/main" id="{1258B02C-D299-244B-A031-6E52E3A9175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322" b="19437"/>
            <a:stretch/>
          </p:blipFill>
          <p:spPr>
            <a:xfrm>
              <a:off x="173736" y="4332140"/>
              <a:ext cx="3090672" cy="3249760"/>
            </a:xfrm>
            <a:prstGeom prst="rect">
              <a:avLst/>
            </a:prstGeom>
          </p:spPr>
        </p:pic>
        <p:pic>
          <p:nvPicPr>
            <p:cNvPr id="16" name="Рисунок 15" descr="Изображение выглядит как текст&#10;&#10;Автоматически созданное описание">
              <a:extLst>
                <a:ext uri="{FF2B5EF4-FFF2-40B4-BE49-F238E27FC236}">
                  <a16:creationId xmlns:a16="http://schemas.microsoft.com/office/drawing/2014/main" id="{657F204E-4DE9-094E-A4B7-513628100DD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322" b="19437"/>
            <a:stretch/>
          </p:blipFill>
          <p:spPr>
            <a:xfrm>
              <a:off x="173736" y="1082380"/>
              <a:ext cx="3090672" cy="3249760"/>
            </a:xfrm>
            <a:prstGeom prst="rect">
              <a:avLst/>
            </a:prstGeom>
          </p:spPr>
        </p:pic>
        <p:pic>
          <p:nvPicPr>
            <p:cNvPr id="17" name="Рисунок 16" descr="Изображение выглядит как текст&#10;&#10;Автоматически созданное описание">
              <a:extLst>
                <a:ext uri="{FF2B5EF4-FFF2-40B4-BE49-F238E27FC236}">
                  <a16:creationId xmlns:a16="http://schemas.microsoft.com/office/drawing/2014/main" id="{3135D6E9-A612-7349-A1F2-0F5C2A06D70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9437"/>
            <a:stretch/>
          </p:blipFill>
          <p:spPr>
            <a:xfrm>
              <a:off x="3264408" y="4332140"/>
              <a:ext cx="3264408" cy="3249760"/>
            </a:xfrm>
            <a:prstGeom prst="rect">
              <a:avLst/>
            </a:prstGeom>
          </p:spPr>
        </p:pic>
        <p:pic>
          <p:nvPicPr>
            <p:cNvPr id="18" name="Рисунок 17" descr="Изображение выглядит как текст&#10;&#10;Автоматически созданное описание">
              <a:extLst>
                <a:ext uri="{FF2B5EF4-FFF2-40B4-BE49-F238E27FC236}">
                  <a16:creationId xmlns:a16="http://schemas.microsoft.com/office/drawing/2014/main" id="{54905967-7B4F-704A-ACF4-73E910751F1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9437"/>
            <a:stretch/>
          </p:blipFill>
          <p:spPr>
            <a:xfrm>
              <a:off x="3264408" y="1082380"/>
              <a:ext cx="3264408" cy="3249760"/>
            </a:xfrm>
            <a:prstGeom prst="rect">
              <a:avLst/>
            </a:prstGeom>
          </p:spPr>
        </p:pic>
        <p:pic>
          <p:nvPicPr>
            <p:cNvPr id="19" name="Рисунок 18" descr="Изображение выглядит как текст&#10;&#10;Автоматически созданное описание">
              <a:extLst>
                <a:ext uri="{FF2B5EF4-FFF2-40B4-BE49-F238E27FC236}">
                  <a16:creationId xmlns:a16="http://schemas.microsoft.com/office/drawing/2014/main" id="{299BCD84-A9F5-264F-B53A-CEA4291A5BA9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9437"/>
            <a:stretch/>
          </p:blipFill>
          <p:spPr>
            <a:xfrm>
              <a:off x="6528816" y="4332140"/>
              <a:ext cx="3264408" cy="3249760"/>
            </a:xfrm>
            <a:prstGeom prst="rect">
              <a:avLst/>
            </a:prstGeom>
          </p:spPr>
        </p:pic>
        <p:pic>
          <p:nvPicPr>
            <p:cNvPr id="20" name="Рисунок 19" descr="Изображение выглядит как текст&#10;&#10;Автоматически созданное описание">
              <a:extLst>
                <a:ext uri="{FF2B5EF4-FFF2-40B4-BE49-F238E27FC236}">
                  <a16:creationId xmlns:a16="http://schemas.microsoft.com/office/drawing/2014/main" id="{CB62E21B-3814-3F4A-AF61-013D61BDE3F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9437"/>
            <a:stretch/>
          </p:blipFill>
          <p:spPr>
            <a:xfrm>
              <a:off x="9793224" y="4332140"/>
              <a:ext cx="3264408" cy="3249760"/>
            </a:xfrm>
            <a:prstGeom prst="rect">
              <a:avLst/>
            </a:prstGeom>
          </p:spPr>
        </p:pic>
        <p:pic>
          <p:nvPicPr>
            <p:cNvPr id="24" name="Рисунок 23" descr="Изображение выглядит как текст&#10;&#10;Автоматически созданное описание">
              <a:extLst>
                <a:ext uri="{FF2B5EF4-FFF2-40B4-BE49-F238E27FC236}">
                  <a16:creationId xmlns:a16="http://schemas.microsoft.com/office/drawing/2014/main" id="{7DD40058-6141-1A4B-8393-94177D1A44F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9437"/>
            <a:stretch/>
          </p:blipFill>
          <p:spPr>
            <a:xfrm>
              <a:off x="10388791" y="0"/>
              <a:ext cx="3264408" cy="3249760"/>
            </a:xfrm>
            <a:prstGeom prst="rect">
              <a:avLst/>
            </a:prstGeom>
          </p:spPr>
        </p:pic>
      </p:grpSp>
      <p:sp>
        <p:nvSpPr>
          <p:cNvPr id="5" name="Rectangle 7"/>
          <p:cNvSpPr/>
          <p:nvPr userDrawn="1"/>
        </p:nvSpPr>
        <p:spPr>
          <a:xfrm>
            <a:off x="0" y="0"/>
            <a:ext cx="13479463" cy="7581900"/>
          </a:xfrm>
          <a:prstGeom prst="rect">
            <a:avLst/>
          </a:prstGeom>
          <a:solidFill>
            <a:schemeClr val="bg1">
              <a:alpha val="8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75" dirty="0"/>
          </a:p>
        </p:txBody>
      </p:sp>
      <p:sp>
        <p:nvSpPr>
          <p:cNvPr id="13" name="Shape 49">
            <a:extLst>
              <a:ext uri="{FF2B5EF4-FFF2-40B4-BE49-F238E27FC236}">
                <a16:creationId xmlns:a16="http://schemas.microsoft.com/office/drawing/2014/main" id="{78597FE3-E24F-6743-B3D4-C4A78EF2BB7B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>
          <a:xfrm>
            <a:off x="12129923" y="7348994"/>
            <a:ext cx="1301158" cy="256779"/>
          </a:xfrm>
          <a:prstGeom prst="rect">
            <a:avLst/>
          </a:prstGeom>
        </p:spPr>
        <p:txBody>
          <a:bodyPr lIns="89557" tIns="0" rIns="89557" bIns="44793"/>
          <a:lstStyle>
            <a:lvl1pPr>
              <a:defRPr sz="1400" b="1">
                <a:solidFill>
                  <a:srgbClr val="868686"/>
                </a:solidFill>
                <a:latin typeface="+mj-lt"/>
              </a:defRPr>
            </a:lvl1pPr>
          </a:lstStyle>
          <a:p>
            <a:fld id="{86CB4B4D-7CA3-9044-876B-883B54F8677D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2" name="Freeform: Shape 19">
            <a:extLst>
              <a:ext uri="{FF2B5EF4-FFF2-40B4-BE49-F238E27FC236}">
                <a16:creationId xmlns:a16="http://schemas.microsoft.com/office/drawing/2014/main" id="{98D113A8-B234-4A46-AB33-F8D76381ECA1}"/>
              </a:ext>
            </a:extLst>
          </p:cNvPr>
          <p:cNvSpPr/>
          <p:nvPr userDrawn="1"/>
        </p:nvSpPr>
        <p:spPr>
          <a:xfrm rot="1800000">
            <a:off x="54161" y="-1596792"/>
            <a:ext cx="15468987" cy="7133389"/>
          </a:xfrm>
          <a:custGeom>
            <a:avLst/>
            <a:gdLst>
              <a:gd name="connsiteX0" fmla="*/ 0 w 13991499"/>
              <a:gd name="connsiteY0" fmla="*/ 5207685 h 6452312"/>
              <a:gd name="connsiteX1" fmla="*/ 2615679 w 13991499"/>
              <a:gd name="connsiteY1" fmla="*/ 3697522 h 6452312"/>
              <a:gd name="connsiteX2" fmla="*/ 9004528 w 13991499"/>
              <a:gd name="connsiteY2" fmla="*/ 8919 h 6452312"/>
              <a:gd name="connsiteX3" fmla="*/ 9019976 w 13991499"/>
              <a:gd name="connsiteY3" fmla="*/ 0 h 6452312"/>
              <a:gd name="connsiteX4" fmla="*/ 11031280 w 13991499"/>
              <a:gd name="connsiteY4" fmla="*/ 0 h 6452312"/>
              <a:gd name="connsiteX5" fmla="*/ 11036430 w 13991499"/>
              <a:gd name="connsiteY5" fmla="*/ 8919 h 6452312"/>
              <a:gd name="connsiteX6" fmla="*/ 11081825 w 13991499"/>
              <a:gd name="connsiteY6" fmla="*/ 8919 h 6452312"/>
              <a:gd name="connsiteX7" fmla="*/ 13991499 w 13991499"/>
              <a:gd name="connsiteY7" fmla="*/ 5048625 h 6452312"/>
              <a:gd name="connsiteX8" fmla="*/ 11560241 w 13991499"/>
              <a:gd name="connsiteY8" fmla="*/ 6452312 h 6452312"/>
              <a:gd name="connsiteX9" fmla="*/ 718586 w 13991499"/>
              <a:gd name="connsiteY9" fmla="*/ 6452312 h 64523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3991499" h="6452312">
                <a:moveTo>
                  <a:pt x="0" y="5207685"/>
                </a:moveTo>
                <a:lnTo>
                  <a:pt x="2615679" y="3697522"/>
                </a:lnTo>
                <a:lnTo>
                  <a:pt x="9004528" y="8919"/>
                </a:lnTo>
                <a:lnTo>
                  <a:pt x="9019976" y="0"/>
                </a:lnTo>
                <a:lnTo>
                  <a:pt x="11031280" y="0"/>
                </a:lnTo>
                <a:lnTo>
                  <a:pt x="11036430" y="8919"/>
                </a:lnTo>
                <a:lnTo>
                  <a:pt x="11081825" y="8919"/>
                </a:lnTo>
                <a:lnTo>
                  <a:pt x="13991499" y="5048625"/>
                </a:lnTo>
                <a:lnTo>
                  <a:pt x="11560241" y="6452312"/>
                </a:lnTo>
                <a:lnTo>
                  <a:pt x="718586" y="6452312"/>
                </a:lnTo>
                <a:close/>
              </a:path>
            </a:pathLst>
          </a:cu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75" dirty="0"/>
          </a:p>
        </p:txBody>
      </p:sp>
    </p:spTree>
    <p:extLst>
      <p:ext uri="{BB962C8B-B14F-4D97-AF65-F5344CB8AC3E}">
        <p14:creationId xmlns:p14="http://schemas.microsoft.com/office/powerpoint/2010/main" val="360864194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/>
          <p:cNvPicPr>
            <a:picLocks noChangeAspect="1"/>
          </p:cNvPicPr>
          <p:nvPr userDrawn="1"/>
        </p:nvPicPr>
        <p:blipFill rotWithShape="1"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9687"/>
          <a:stretch/>
        </p:blipFill>
        <p:spPr>
          <a:xfrm>
            <a:off x="0" y="0"/>
            <a:ext cx="13479463" cy="7581900"/>
          </a:xfrm>
          <a:prstGeom prst="rect">
            <a:avLst/>
          </a:prstGeom>
        </p:spPr>
      </p:pic>
      <p:sp>
        <p:nvSpPr>
          <p:cNvPr id="5" name="Rectangle 7"/>
          <p:cNvSpPr/>
          <p:nvPr userDrawn="1"/>
        </p:nvSpPr>
        <p:spPr>
          <a:xfrm>
            <a:off x="0" y="0"/>
            <a:ext cx="13479463" cy="7581900"/>
          </a:xfrm>
          <a:prstGeom prst="rect">
            <a:avLst/>
          </a:prstGeom>
          <a:solidFill>
            <a:schemeClr val="bg1">
              <a:alpha val="8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75" dirty="0"/>
          </a:p>
        </p:txBody>
      </p:sp>
      <p:sp>
        <p:nvSpPr>
          <p:cNvPr id="6" name="Freeform: Shape 19"/>
          <p:cNvSpPr/>
          <p:nvPr userDrawn="1"/>
        </p:nvSpPr>
        <p:spPr>
          <a:xfrm rot="1800000">
            <a:off x="54161" y="-1596792"/>
            <a:ext cx="15468987" cy="7133389"/>
          </a:xfrm>
          <a:custGeom>
            <a:avLst/>
            <a:gdLst>
              <a:gd name="connsiteX0" fmla="*/ 0 w 13991499"/>
              <a:gd name="connsiteY0" fmla="*/ 5207685 h 6452312"/>
              <a:gd name="connsiteX1" fmla="*/ 2615679 w 13991499"/>
              <a:gd name="connsiteY1" fmla="*/ 3697522 h 6452312"/>
              <a:gd name="connsiteX2" fmla="*/ 9004528 w 13991499"/>
              <a:gd name="connsiteY2" fmla="*/ 8919 h 6452312"/>
              <a:gd name="connsiteX3" fmla="*/ 9019976 w 13991499"/>
              <a:gd name="connsiteY3" fmla="*/ 0 h 6452312"/>
              <a:gd name="connsiteX4" fmla="*/ 11031280 w 13991499"/>
              <a:gd name="connsiteY4" fmla="*/ 0 h 6452312"/>
              <a:gd name="connsiteX5" fmla="*/ 11036430 w 13991499"/>
              <a:gd name="connsiteY5" fmla="*/ 8919 h 6452312"/>
              <a:gd name="connsiteX6" fmla="*/ 11081825 w 13991499"/>
              <a:gd name="connsiteY6" fmla="*/ 8919 h 6452312"/>
              <a:gd name="connsiteX7" fmla="*/ 13991499 w 13991499"/>
              <a:gd name="connsiteY7" fmla="*/ 5048625 h 6452312"/>
              <a:gd name="connsiteX8" fmla="*/ 11560241 w 13991499"/>
              <a:gd name="connsiteY8" fmla="*/ 6452312 h 6452312"/>
              <a:gd name="connsiteX9" fmla="*/ 718586 w 13991499"/>
              <a:gd name="connsiteY9" fmla="*/ 6452312 h 64523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3991499" h="6452312">
                <a:moveTo>
                  <a:pt x="0" y="5207685"/>
                </a:moveTo>
                <a:lnTo>
                  <a:pt x="2615679" y="3697522"/>
                </a:lnTo>
                <a:lnTo>
                  <a:pt x="9004528" y="8919"/>
                </a:lnTo>
                <a:lnTo>
                  <a:pt x="9019976" y="0"/>
                </a:lnTo>
                <a:lnTo>
                  <a:pt x="11031280" y="0"/>
                </a:lnTo>
                <a:lnTo>
                  <a:pt x="11036430" y="8919"/>
                </a:lnTo>
                <a:lnTo>
                  <a:pt x="11081825" y="8919"/>
                </a:lnTo>
                <a:lnTo>
                  <a:pt x="13991499" y="5048625"/>
                </a:lnTo>
                <a:lnTo>
                  <a:pt x="11560241" y="6452312"/>
                </a:lnTo>
                <a:lnTo>
                  <a:pt x="718586" y="6452312"/>
                </a:lnTo>
                <a:close/>
              </a:path>
            </a:pathLst>
          </a:cu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75" dirty="0"/>
          </a:p>
        </p:txBody>
      </p:sp>
      <p:sp>
        <p:nvSpPr>
          <p:cNvPr id="13" name="Shape 49">
            <a:extLst>
              <a:ext uri="{FF2B5EF4-FFF2-40B4-BE49-F238E27FC236}">
                <a16:creationId xmlns:a16="http://schemas.microsoft.com/office/drawing/2014/main" id="{78597FE3-E24F-6743-B3D4-C4A78EF2BB7B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>
          <a:xfrm>
            <a:off x="12129923" y="7348994"/>
            <a:ext cx="1301158" cy="256779"/>
          </a:xfrm>
          <a:prstGeom prst="rect">
            <a:avLst/>
          </a:prstGeom>
        </p:spPr>
        <p:txBody>
          <a:bodyPr lIns="89557" tIns="0" rIns="89557" bIns="44793"/>
          <a:lstStyle>
            <a:lvl1pPr>
              <a:defRPr sz="1400" b="1">
                <a:solidFill>
                  <a:srgbClr val="868686"/>
                </a:solidFill>
                <a:latin typeface="+mj-lt"/>
              </a:defRPr>
            </a:lvl1pPr>
          </a:lstStyle>
          <a:p>
            <a:fld id="{86CB4B4D-7CA3-9044-876B-883B54F8677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213228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4_Заголовок — вверху">
    <p:bg>
      <p:bgPr>
        <a:blipFill dpi="0" rotWithShape="1">
          <a:blip r:embed="rId2">
            <a:alphaModFix amt="13000"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2"/>
          <p:cNvSpPr/>
          <p:nvPr userDrawn="1"/>
        </p:nvSpPr>
        <p:spPr>
          <a:xfrm>
            <a:off x="0" y="0"/>
            <a:ext cx="13479463" cy="1253616"/>
          </a:xfrm>
          <a:prstGeom prst="rect">
            <a:avLst/>
          </a:prstGeom>
          <a:solidFill>
            <a:srgbClr val="868686"/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418" tIns="52209" rIns="104418" bIns="52209" rtlCol="0" anchor="t"/>
          <a:lstStyle/>
          <a:p>
            <a:pPr algn="ctr" defTabSz="1043734" hangingPunct="1"/>
            <a:endParaRPr lang="ru-RU" sz="1300" kern="12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5" name="Прямоугольник 14"/>
          <p:cNvSpPr/>
          <p:nvPr userDrawn="1"/>
        </p:nvSpPr>
        <p:spPr>
          <a:xfrm>
            <a:off x="3" y="7341550"/>
            <a:ext cx="12477759" cy="240357"/>
          </a:xfrm>
          <a:prstGeom prst="rect">
            <a:avLst/>
          </a:prstGeom>
          <a:solidFill>
            <a:srgbClr val="868686"/>
          </a:solidFill>
          <a:ln w="9525">
            <a:noFill/>
          </a:ln>
          <a:effectLst>
            <a:outerShdw blurRad="50800" dist="38100" dir="16200000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557" tIns="44793" rIns="89557" bIns="44793" rtlCol="0" anchor="ctr"/>
          <a:lstStyle/>
          <a:p>
            <a:pPr algn="ctr"/>
            <a:endParaRPr lang="ru-RU" sz="2600" dirty="0">
              <a:solidFill>
                <a:schemeClr val="tx1"/>
              </a:solidFill>
            </a:endParaRPr>
          </a:p>
        </p:txBody>
      </p:sp>
      <p:sp>
        <p:nvSpPr>
          <p:cNvPr id="16" name="Shape 48"/>
          <p:cNvSpPr>
            <a:spLocks noGrp="1"/>
          </p:cNvSpPr>
          <p:nvPr>
            <p:ph type="title" hasCustomPrompt="1"/>
          </p:nvPr>
        </p:nvSpPr>
        <p:spPr>
          <a:xfrm>
            <a:off x="720000" y="427690"/>
            <a:ext cx="9115829" cy="398237"/>
          </a:xfrm>
          <a:prstGeom prst="rect">
            <a:avLst/>
          </a:prstGeom>
          <a:noFill/>
        </p:spPr>
        <p:txBody>
          <a:bodyPr lIns="0" tIns="44793" rIns="89557" bIns="44793" anchor="t">
            <a:spAutoFit/>
          </a:bodyPr>
          <a:lstStyle>
            <a:lvl1pPr algn="l">
              <a:defRPr sz="2000" b="0" cap="none">
                <a:solidFill>
                  <a:schemeClr val="bg1"/>
                </a:solidFill>
                <a:latin typeface="Arial"/>
                <a:cs typeface="Arial"/>
                <a:sym typeface="Arial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sp>
        <p:nvSpPr>
          <p:cNvPr id="17" name="Rectangle 102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727374" y="1381548"/>
            <a:ext cx="6748090" cy="26161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0" marR="0" indent="0" algn="l" defTabSz="105297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  <a:defRPr lang="en-US" sz="1700" b="1" smtClean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105297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  <a:defRPr/>
            </a:pPr>
            <a:r>
              <a:rPr lang="ru-RU" sz="1700" b="1" dirty="0">
                <a:solidFill>
                  <a:schemeClr val="accent2"/>
                </a:solidFill>
                <a:latin typeface="+mj-lt"/>
              </a:rPr>
              <a:t>Подзаголовок</a:t>
            </a:r>
            <a:endParaRPr lang="en-US" sz="1700" b="1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18" name="Shape 49"/>
          <p:cNvSpPr>
            <a:spLocks noGrp="1"/>
          </p:cNvSpPr>
          <p:nvPr>
            <p:ph type="sldNum" sz="quarter" idx="2"/>
          </p:nvPr>
        </p:nvSpPr>
        <p:spPr>
          <a:xfrm>
            <a:off x="12129923" y="7348994"/>
            <a:ext cx="1301158" cy="256779"/>
          </a:xfrm>
          <a:prstGeom prst="rect">
            <a:avLst/>
          </a:prstGeom>
        </p:spPr>
        <p:txBody>
          <a:bodyPr lIns="89557" tIns="0" rIns="89557" bIns="44793"/>
          <a:lstStyle>
            <a:lvl1pPr>
              <a:defRPr sz="1400" b="1">
                <a:solidFill>
                  <a:srgbClr val="868686"/>
                </a:solidFill>
                <a:latin typeface="+mj-lt"/>
              </a:defRPr>
            </a:lvl1pPr>
          </a:lstStyle>
          <a:p>
            <a:fld id="{86CB4B4D-7CA3-9044-876B-883B54F8677D}" type="slidenum">
              <a:rPr lang="ru-RU" smtClean="0"/>
              <a:pPr/>
              <a:t>‹#›</a:t>
            </a:fld>
            <a:endParaRPr lang="ru-RU" dirty="0"/>
          </a:p>
        </p:txBody>
      </p:sp>
      <p:grpSp>
        <p:nvGrpSpPr>
          <p:cNvPr id="19" name="Группа 18"/>
          <p:cNvGrpSpPr/>
          <p:nvPr userDrawn="1"/>
        </p:nvGrpSpPr>
        <p:grpSpPr>
          <a:xfrm>
            <a:off x="182366" y="427690"/>
            <a:ext cx="358488" cy="398238"/>
            <a:chOff x="236048" y="487324"/>
            <a:chExt cx="251124" cy="278969"/>
          </a:xfrm>
        </p:grpSpPr>
        <p:sp>
          <p:nvSpPr>
            <p:cNvPr id="20" name="Нашивка 19"/>
            <p:cNvSpPr/>
            <p:nvPr userDrawn="1"/>
          </p:nvSpPr>
          <p:spPr>
            <a:xfrm>
              <a:off x="350349" y="487324"/>
              <a:ext cx="136823" cy="278969"/>
            </a:xfrm>
            <a:prstGeom prst="chevron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4418" tIns="52209" rIns="104418" bIns="52209" rtlCol="0" anchor="t"/>
            <a:lstStyle/>
            <a:p>
              <a:pPr algn="ctr" defTabSz="1043639" hangingPunct="1"/>
              <a:endParaRPr lang="ru-RU" sz="1300" kern="120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1" name="Нашивка 20"/>
            <p:cNvSpPr/>
            <p:nvPr userDrawn="1"/>
          </p:nvSpPr>
          <p:spPr>
            <a:xfrm>
              <a:off x="236048" y="487324"/>
              <a:ext cx="136823" cy="278969"/>
            </a:xfrm>
            <a:prstGeom prst="chevron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4418" tIns="52209" rIns="104418" bIns="52209" rtlCol="0" anchor="t"/>
            <a:lstStyle/>
            <a:p>
              <a:pPr algn="ctr" defTabSz="1043639" hangingPunct="1"/>
              <a:endParaRPr lang="ru-RU" sz="1300" kern="120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</p:grpSp>
      <p:sp>
        <p:nvSpPr>
          <p:cNvPr id="22" name="Прямоугольник 21"/>
          <p:cNvSpPr/>
          <p:nvPr userDrawn="1"/>
        </p:nvSpPr>
        <p:spPr>
          <a:xfrm>
            <a:off x="13083245" y="7341550"/>
            <a:ext cx="396218" cy="240357"/>
          </a:xfrm>
          <a:prstGeom prst="rect">
            <a:avLst/>
          </a:prstGeom>
          <a:solidFill>
            <a:srgbClr val="868686"/>
          </a:solidFill>
          <a:ln w="9525">
            <a:noFill/>
          </a:ln>
          <a:effectLst>
            <a:outerShdw blurRad="50800" dist="38100" dir="16200000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557" tIns="44793" rIns="89557" bIns="44793" rtlCol="0" anchor="ctr"/>
          <a:lstStyle/>
          <a:p>
            <a:pPr algn="ctr"/>
            <a:endParaRPr lang="ru-RU" sz="2600" dirty="0">
              <a:solidFill>
                <a:schemeClr val="tx1"/>
              </a:solidFill>
            </a:endParaRPr>
          </a:p>
        </p:txBody>
      </p:sp>
      <p:pic>
        <p:nvPicPr>
          <p:cNvPr id="12" name="Рисунок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6000" y="266808"/>
            <a:ext cx="1569044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013940"/>
      </p:ext>
    </p:extLst>
  </p:cSld>
  <p:clrMapOvr>
    <a:masterClrMapping/>
  </p:clrMapOvr>
  <p:transition spd="med"/>
  <p:extLst mod="1">
    <p:ext uri="{DCECCB84-F9BA-43D5-87BE-67443E8EF086}">
      <p15:sldGuideLst xmlns:p15="http://schemas.microsoft.com/office/powerpoint/2012/main">
        <p15:guide id="1" pos="458">
          <p15:clr>
            <a:srgbClr val="FBAE40"/>
          </p15:clr>
        </p15:guide>
        <p15:guide id="2" pos="8237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1">
            <a:extLst>
              <a:ext uri="{FF2B5EF4-FFF2-40B4-BE49-F238E27FC236}">
                <a16:creationId xmlns:a16="http://schemas.microsoft.com/office/drawing/2014/main" id="{9C4B8B87-4EF0-214A-B80D-FED33D6BBBDA}"/>
              </a:ext>
            </a:extLst>
          </p:cNvPr>
          <p:cNvSpPr/>
          <p:nvPr userDrawn="1"/>
        </p:nvSpPr>
        <p:spPr>
          <a:xfrm>
            <a:off x="0" y="152408"/>
            <a:ext cx="118533" cy="1526628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Shape 49">
            <a:extLst>
              <a:ext uri="{FF2B5EF4-FFF2-40B4-BE49-F238E27FC236}">
                <a16:creationId xmlns:a16="http://schemas.microsoft.com/office/drawing/2014/main" id="{E900BD2E-DFFB-9A48-854B-664E6F2D52AD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>
          <a:xfrm>
            <a:off x="12129923" y="7348994"/>
            <a:ext cx="1301158" cy="256779"/>
          </a:xfrm>
          <a:prstGeom prst="rect">
            <a:avLst/>
          </a:prstGeom>
        </p:spPr>
        <p:txBody>
          <a:bodyPr lIns="89557" tIns="0" rIns="89557" bIns="44793"/>
          <a:lstStyle>
            <a:lvl1pPr>
              <a:defRPr sz="1400" b="1">
                <a:solidFill>
                  <a:srgbClr val="868686"/>
                </a:solidFill>
                <a:latin typeface="+mj-lt"/>
              </a:defRPr>
            </a:lvl1pPr>
          </a:lstStyle>
          <a:p>
            <a:fld id="{86CB4B4D-7CA3-9044-876B-883B54F8677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229912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3_Заголовок — вверху">
    <p:bg>
      <p:bgPr>
        <a:blipFill dpi="0" rotWithShape="1">
          <a:blip r:embed="rId2">
            <a:alphaModFix amt="35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2"/>
          <p:cNvSpPr/>
          <p:nvPr userDrawn="1"/>
        </p:nvSpPr>
        <p:spPr>
          <a:xfrm>
            <a:off x="0" y="0"/>
            <a:ext cx="13479463" cy="1253616"/>
          </a:xfrm>
          <a:prstGeom prst="rect">
            <a:avLst/>
          </a:prstGeom>
          <a:solidFill>
            <a:srgbClr val="868686"/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418" tIns="52209" rIns="104418" bIns="52209" rtlCol="0" anchor="t"/>
          <a:lstStyle/>
          <a:p>
            <a:pPr algn="ctr" defTabSz="1043734" hangingPunct="1"/>
            <a:endParaRPr lang="ru-RU" sz="1300" kern="12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5" name="Прямоугольник 14"/>
          <p:cNvSpPr/>
          <p:nvPr userDrawn="1"/>
        </p:nvSpPr>
        <p:spPr>
          <a:xfrm>
            <a:off x="3" y="7341550"/>
            <a:ext cx="12477759" cy="240357"/>
          </a:xfrm>
          <a:prstGeom prst="rect">
            <a:avLst/>
          </a:prstGeom>
          <a:solidFill>
            <a:srgbClr val="868686"/>
          </a:solidFill>
          <a:ln w="9525">
            <a:noFill/>
          </a:ln>
          <a:effectLst>
            <a:outerShdw blurRad="50800" dist="38100" dir="16200000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557" tIns="44793" rIns="89557" bIns="44793" rtlCol="0" anchor="ctr"/>
          <a:lstStyle/>
          <a:p>
            <a:pPr algn="ctr"/>
            <a:endParaRPr lang="ru-RU" sz="2600" dirty="0">
              <a:solidFill>
                <a:schemeClr val="tx1"/>
              </a:solidFill>
            </a:endParaRPr>
          </a:p>
        </p:txBody>
      </p:sp>
      <p:sp>
        <p:nvSpPr>
          <p:cNvPr id="16" name="Shape 48"/>
          <p:cNvSpPr>
            <a:spLocks noGrp="1"/>
          </p:cNvSpPr>
          <p:nvPr>
            <p:ph type="title" hasCustomPrompt="1"/>
          </p:nvPr>
        </p:nvSpPr>
        <p:spPr>
          <a:xfrm>
            <a:off x="720000" y="427690"/>
            <a:ext cx="9115829" cy="398237"/>
          </a:xfrm>
          <a:prstGeom prst="rect">
            <a:avLst/>
          </a:prstGeom>
          <a:noFill/>
        </p:spPr>
        <p:txBody>
          <a:bodyPr lIns="0" tIns="44793" rIns="89557" bIns="44793" anchor="t">
            <a:spAutoFit/>
          </a:bodyPr>
          <a:lstStyle>
            <a:lvl1pPr algn="l">
              <a:defRPr sz="2000" b="0" cap="none">
                <a:solidFill>
                  <a:schemeClr val="bg1"/>
                </a:solidFill>
                <a:latin typeface="Arial"/>
                <a:cs typeface="Arial"/>
                <a:sym typeface="Arial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sp>
        <p:nvSpPr>
          <p:cNvPr id="18" name="Shape 49"/>
          <p:cNvSpPr>
            <a:spLocks noGrp="1"/>
          </p:cNvSpPr>
          <p:nvPr>
            <p:ph type="sldNum" sz="quarter" idx="2"/>
          </p:nvPr>
        </p:nvSpPr>
        <p:spPr>
          <a:xfrm>
            <a:off x="12129923" y="7348994"/>
            <a:ext cx="1301158" cy="256779"/>
          </a:xfrm>
          <a:prstGeom prst="rect">
            <a:avLst/>
          </a:prstGeom>
        </p:spPr>
        <p:txBody>
          <a:bodyPr lIns="89557" tIns="0" rIns="89557" bIns="44793"/>
          <a:lstStyle>
            <a:lvl1pPr>
              <a:defRPr sz="1400" b="1">
                <a:solidFill>
                  <a:srgbClr val="868686"/>
                </a:solidFill>
                <a:latin typeface="+mj-lt"/>
              </a:defRPr>
            </a:lvl1pPr>
          </a:lstStyle>
          <a:p>
            <a:fld id="{86CB4B4D-7CA3-9044-876B-883B54F8677D}" type="slidenum">
              <a:rPr lang="ru-RU" smtClean="0"/>
              <a:pPr/>
              <a:t>‹#›</a:t>
            </a:fld>
            <a:endParaRPr lang="ru-RU" dirty="0"/>
          </a:p>
        </p:txBody>
      </p:sp>
      <p:grpSp>
        <p:nvGrpSpPr>
          <p:cNvPr id="19" name="Группа 18"/>
          <p:cNvGrpSpPr/>
          <p:nvPr userDrawn="1"/>
        </p:nvGrpSpPr>
        <p:grpSpPr>
          <a:xfrm>
            <a:off x="182366" y="427690"/>
            <a:ext cx="358488" cy="398238"/>
            <a:chOff x="236048" y="487324"/>
            <a:chExt cx="251124" cy="278969"/>
          </a:xfrm>
        </p:grpSpPr>
        <p:sp>
          <p:nvSpPr>
            <p:cNvPr id="20" name="Нашивка 19"/>
            <p:cNvSpPr/>
            <p:nvPr userDrawn="1"/>
          </p:nvSpPr>
          <p:spPr>
            <a:xfrm>
              <a:off x="350349" y="487324"/>
              <a:ext cx="136823" cy="278969"/>
            </a:xfrm>
            <a:prstGeom prst="chevron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4418" tIns="52209" rIns="104418" bIns="52209" rtlCol="0" anchor="t"/>
            <a:lstStyle/>
            <a:p>
              <a:pPr algn="ctr" defTabSz="1043639" hangingPunct="1"/>
              <a:endParaRPr lang="ru-RU" sz="1300" kern="120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1" name="Нашивка 20"/>
            <p:cNvSpPr/>
            <p:nvPr userDrawn="1"/>
          </p:nvSpPr>
          <p:spPr>
            <a:xfrm>
              <a:off x="236048" y="487324"/>
              <a:ext cx="136823" cy="278969"/>
            </a:xfrm>
            <a:prstGeom prst="chevron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4418" tIns="52209" rIns="104418" bIns="52209" rtlCol="0" anchor="t"/>
            <a:lstStyle/>
            <a:p>
              <a:pPr algn="ctr" defTabSz="1043639" hangingPunct="1"/>
              <a:endParaRPr lang="ru-RU" sz="1300" kern="120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</p:grpSp>
      <p:sp>
        <p:nvSpPr>
          <p:cNvPr id="22" name="Прямоугольник 21"/>
          <p:cNvSpPr/>
          <p:nvPr userDrawn="1"/>
        </p:nvSpPr>
        <p:spPr>
          <a:xfrm>
            <a:off x="13083245" y="7341550"/>
            <a:ext cx="396218" cy="240357"/>
          </a:xfrm>
          <a:prstGeom prst="rect">
            <a:avLst/>
          </a:prstGeom>
          <a:solidFill>
            <a:srgbClr val="868686"/>
          </a:solidFill>
          <a:ln w="9525">
            <a:noFill/>
          </a:ln>
          <a:effectLst>
            <a:outerShdw blurRad="50800" dist="38100" dir="16200000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557" tIns="44793" rIns="89557" bIns="44793" rtlCol="0" anchor="ctr"/>
          <a:lstStyle/>
          <a:p>
            <a:pPr algn="ctr"/>
            <a:endParaRPr lang="ru-RU" sz="2600" dirty="0">
              <a:solidFill>
                <a:schemeClr val="tx1"/>
              </a:solidFill>
            </a:endParaRPr>
          </a:p>
        </p:txBody>
      </p:sp>
      <p:pic>
        <p:nvPicPr>
          <p:cNvPr id="12" name="Рисунок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6000" y="266808"/>
            <a:ext cx="1569044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3766765"/>
      </p:ext>
    </p:extLst>
  </p:cSld>
  <p:clrMapOvr>
    <a:masterClrMapping/>
  </p:clrMapOvr>
  <p:transition spd="med"/>
  <p:extLst mod="1">
    <p:ext uri="{DCECCB84-F9BA-43D5-87BE-67443E8EF086}">
      <p15:sldGuideLst xmlns:p15="http://schemas.microsoft.com/office/powerpoint/2012/main">
        <p15:guide id="1" pos="458">
          <p15:clr>
            <a:srgbClr val="FBAE40"/>
          </p15:clr>
        </p15:guide>
        <p15:guide id="2" pos="8237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2_Заголовок — вверху">
    <p:bg>
      <p:bgPr>
        <a:blipFill dpi="0" rotWithShape="1">
          <a:blip r:embed="rId2">
            <a:alphaModFix amt="13000"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Прямоугольник 14"/>
          <p:cNvSpPr/>
          <p:nvPr userDrawn="1"/>
        </p:nvSpPr>
        <p:spPr>
          <a:xfrm>
            <a:off x="3" y="7341550"/>
            <a:ext cx="12477759" cy="240357"/>
          </a:xfrm>
          <a:prstGeom prst="rect">
            <a:avLst/>
          </a:prstGeom>
          <a:solidFill>
            <a:srgbClr val="868686"/>
          </a:solidFill>
          <a:ln w="9525">
            <a:noFill/>
          </a:ln>
          <a:effectLst>
            <a:outerShdw blurRad="50800" dist="38100" dir="16200000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557" tIns="44793" rIns="89557" bIns="44793" rtlCol="0" anchor="ctr"/>
          <a:lstStyle/>
          <a:p>
            <a:pPr algn="ctr"/>
            <a:endParaRPr lang="ru-RU" sz="2600" dirty="0">
              <a:solidFill>
                <a:schemeClr val="tx1"/>
              </a:solidFill>
            </a:endParaRPr>
          </a:p>
        </p:txBody>
      </p:sp>
      <p:sp>
        <p:nvSpPr>
          <p:cNvPr id="18" name="Shape 49"/>
          <p:cNvSpPr>
            <a:spLocks noGrp="1"/>
          </p:cNvSpPr>
          <p:nvPr>
            <p:ph type="sldNum" sz="quarter" idx="2"/>
          </p:nvPr>
        </p:nvSpPr>
        <p:spPr>
          <a:xfrm>
            <a:off x="12129923" y="7348994"/>
            <a:ext cx="1301158" cy="256779"/>
          </a:xfrm>
          <a:prstGeom prst="rect">
            <a:avLst/>
          </a:prstGeom>
        </p:spPr>
        <p:txBody>
          <a:bodyPr lIns="89557" tIns="0" rIns="89557" bIns="44793"/>
          <a:lstStyle>
            <a:lvl1pPr>
              <a:defRPr sz="1400" b="1">
                <a:solidFill>
                  <a:srgbClr val="868686"/>
                </a:solidFill>
                <a:latin typeface="+mj-lt"/>
              </a:defRPr>
            </a:lvl1pPr>
          </a:lstStyle>
          <a:p>
            <a:fld id="{86CB4B4D-7CA3-9044-876B-883B54F8677D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2" name="Прямоугольник 21"/>
          <p:cNvSpPr/>
          <p:nvPr userDrawn="1"/>
        </p:nvSpPr>
        <p:spPr>
          <a:xfrm>
            <a:off x="13083245" y="7341550"/>
            <a:ext cx="396218" cy="240357"/>
          </a:xfrm>
          <a:prstGeom prst="rect">
            <a:avLst/>
          </a:prstGeom>
          <a:solidFill>
            <a:srgbClr val="868686"/>
          </a:solidFill>
          <a:ln w="9525">
            <a:noFill/>
          </a:ln>
          <a:effectLst>
            <a:outerShdw blurRad="50800" dist="38100" dir="16200000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557" tIns="44793" rIns="89557" bIns="44793" rtlCol="0" anchor="ctr"/>
          <a:lstStyle/>
          <a:p>
            <a:pPr algn="ctr"/>
            <a:endParaRPr lang="ru-RU" sz="2600" dirty="0">
              <a:solidFill>
                <a:schemeClr val="tx1"/>
              </a:solidFill>
            </a:endParaRPr>
          </a:p>
        </p:txBody>
      </p:sp>
      <p:pic>
        <p:nvPicPr>
          <p:cNvPr id="12" name="Рисунок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6000" y="266808"/>
            <a:ext cx="1569044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9103994"/>
      </p:ext>
    </p:extLst>
  </p:cSld>
  <p:clrMapOvr>
    <a:masterClrMapping/>
  </p:clrMapOvr>
  <p:transition spd="med"/>
  <p:extLst mod="1">
    <p:ext uri="{DCECCB84-F9BA-43D5-87BE-67443E8EF086}">
      <p15:sldGuideLst xmlns:p15="http://schemas.microsoft.com/office/powerpoint/2012/main">
        <p15:guide id="1" pos="458">
          <p15:clr>
            <a:srgbClr val="FBAE40"/>
          </p15:clr>
        </p15:guide>
        <p15:guide id="2" pos="8237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8_Заголовок — вверху">
    <p:bg>
      <p:bgPr>
        <a:blipFill dpi="0" rotWithShape="1">
          <a:blip r:embed="rId2">
            <a:lum/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0"/>
            <a:ext cx="13479463" cy="7581900"/>
          </a:xfrm>
          <a:prstGeom prst="rect">
            <a:avLst/>
          </a:prstGeom>
          <a:solidFill>
            <a:schemeClr val="tx1">
              <a:lumMod val="95000"/>
              <a:lumOff val="5000"/>
              <a:alpha val="59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418" tIns="52209" rIns="104418" bIns="52209" rtlCol="0" anchor="t"/>
          <a:lstStyle/>
          <a:p>
            <a:pPr algn="ctr" defTabSz="1043734" hangingPunct="1"/>
            <a:endParaRPr lang="ru-RU" sz="1300" kern="12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>
            <a:off x="0" y="0"/>
            <a:ext cx="13479463" cy="1253616"/>
          </a:xfrm>
          <a:prstGeom prst="rect">
            <a:avLst/>
          </a:prstGeom>
          <a:solidFill>
            <a:schemeClr val="bg1">
              <a:alpha val="67000"/>
            </a:schemeClr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418" tIns="52209" rIns="104418" bIns="52209" rtlCol="0" anchor="t"/>
          <a:lstStyle/>
          <a:p>
            <a:pPr algn="ctr" defTabSz="1043734" hangingPunct="1"/>
            <a:endParaRPr lang="ru-RU" sz="1300" kern="12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5" name="Прямоугольник 14"/>
          <p:cNvSpPr/>
          <p:nvPr userDrawn="1"/>
        </p:nvSpPr>
        <p:spPr>
          <a:xfrm>
            <a:off x="3" y="7341550"/>
            <a:ext cx="12477759" cy="240357"/>
          </a:xfrm>
          <a:prstGeom prst="rect">
            <a:avLst/>
          </a:prstGeom>
          <a:solidFill>
            <a:schemeClr val="bg1">
              <a:alpha val="67000"/>
            </a:schemeClr>
          </a:solidFill>
          <a:ln w="9525">
            <a:noFill/>
          </a:ln>
          <a:effectLst>
            <a:outerShdw blurRad="50800" dist="38100" dir="16200000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557" tIns="44793" rIns="89557" bIns="44793" rtlCol="0" anchor="ctr"/>
          <a:lstStyle/>
          <a:p>
            <a:pPr algn="ctr"/>
            <a:endParaRPr lang="ru-RU" sz="2600" dirty="0">
              <a:solidFill>
                <a:schemeClr val="tx1"/>
              </a:solidFill>
            </a:endParaRPr>
          </a:p>
        </p:txBody>
      </p:sp>
      <p:sp>
        <p:nvSpPr>
          <p:cNvPr id="16" name="Shape 48"/>
          <p:cNvSpPr>
            <a:spLocks noGrp="1"/>
          </p:cNvSpPr>
          <p:nvPr>
            <p:ph type="title" hasCustomPrompt="1"/>
          </p:nvPr>
        </p:nvSpPr>
        <p:spPr>
          <a:xfrm>
            <a:off x="720000" y="427690"/>
            <a:ext cx="9115829" cy="398237"/>
          </a:xfrm>
          <a:prstGeom prst="rect">
            <a:avLst/>
          </a:prstGeom>
          <a:noFill/>
        </p:spPr>
        <p:txBody>
          <a:bodyPr lIns="0" tIns="44793" rIns="89557" bIns="44793" anchor="t">
            <a:spAutoFit/>
          </a:bodyPr>
          <a:lstStyle>
            <a:lvl1pPr algn="l">
              <a:defRPr sz="2000" b="1" cap="none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  <a:sym typeface="Arial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sp>
        <p:nvSpPr>
          <p:cNvPr id="18" name="Shape 49"/>
          <p:cNvSpPr>
            <a:spLocks noGrp="1"/>
          </p:cNvSpPr>
          <p:nvPr>
            <p:ph type="sldNum" sz="quarter" idx="2"/>
          </p:nvPr>
        </p:nvSpPr>
        <p:spPr>
          <a:xfrm>
            <a:off x="12129923" y="7348994"/>
            <a:ext cx="1301158" cy="256779"/>
          </a:xfrm>
          <a:prstGeom prst="rect">
            <a:avLst/>
          </a:prstGeom>
        </p:spPr>
        <p:txBody>
          <a:bodyPr lIns="89557" tIns="0" rIns="89557" bIns="44793"/>
          <a:lstStyle>
            <a:lvl1pPr>
              <a:defRPr sz="1400" b="1">
                <a:solidFill>
                  <a:schemeClr val="bg1"/>
                </a:solidFill>
                <a:latin typeface="+mj-lt"/>
              </a:defRPr>
            </a:lvl1pPr>
          </a:lstStyle>
          <a:p>
            <a:fld id="{86CB4B4D-7CA3-9044-876B-883B54F8677D}" type="slidenum">
              <a:rPr lang="ru-RU" smtClean="0"/>
              <a:pPr/>
              <a:t>‹#›</a:t>
            </a:fld>
            <a:endParaRPr lang="ru-RU" dirty="0"/>
          </a:p>
        </p:txBody>
      </p:sp>
      <p:grpSp>
        <p:nvGrpSpPr>
          <p:cNvPr id="19" name="Группа 18"/>
          <p:cNvGrpSpPr/>
          <p:nvPr userDrawn="1"/>
        </p:nvGrpSpPr>
        <p:grpSpPr>
          <a:xfrm>
            <a:off x="182366" y="427690"/>
            <a:ext cx="358488" cy="398238"/>
            <a:chOff x="236048" y="487324"/>
            <a:chExt cx="251124" cy="278969"/>
          </a:xfrm>
          <a:solidFill>
            <a:schemeClr val="tx1">
              <a:lumMod val="65000"/>
              <a:lumOff val="35000"/>
            </a:schemeClr>
          </a:solidFill>
        </p:grpSpPr>
        <p:sp>
          <p:nvSpPr>
            <p:cNvPr id="20" name="Нашивка 19"/>
            <p:cNvSpPr/>
            <p:nvPr userDrawn="1"/>
          </p:nvSpPr>
          <p:spPr>
            <a:xfrm>
              <a:off x="350349" y="487324"/>
              <a:ext cx="136823" cy="278969"/>
            </a:xfrm>
            <a:prstGeom prst="chevron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4418" tIns="52209" rIns="104418" bIns="52209" rtlCol="0" anchor="t"/>
            <a:lstStyle/>
            <a:p>
              <a:pPr algn="ctr" defTabSz="1043639" hangingPunct="1"/>
              <a:endParaRPr lang="ru-RU" sz="1300" kern="120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1" name="Нашивка 20"/>
            <p:cNvSpPr/>
            <p:nvPr userDrawn="1"/>
          </p:nvSpPr>
          <p:spPr>
            <a:xfrm>
              <a:off x="236048" y="487324"/>
              <a:ext cx="136823" cy="278969"/>
            </a:xfrm>
            <a:prstGeom prst="chevron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4418" tIns="52209" rIns="104418" bIns="52209" rtlCol="0" anchor="t"/>
            <a:lstStyle/>
            <a:p>
              <a:pPr algn="ctr" defTabSz="1043639" hangingPunct="1"/>
              <a:endParaRPr lang="ru-RU" sz="1300" kern="120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</p:grpSp>
      <p:sp>
        <p:nvSpPr>
          <p:cNvPr id="22" name="Прямоугольник 21"/>
          <p:cNvSpPr/>
          <p:nvPr userDrawn="1"/>
        </p:nvSpPr>
        <p:spPr>
          <a:xfrm>
            <a:off x="13083245" y="7341550"/>
            <a:ext cx="396218" cy="240357"/>
          </a:xfrm>
          <a:prstGeom prst="rect">
            <a:avLst/>
          </a:prstGeom>
          <a:solidFill>
            <a:schemeClr val="bg1">
              <a:alpha val="67000"/>
            </a:schemeClr>
          </a:solidFill>
          <a:ln w="9525">
            <a:noFill/>
          </a:ln>
          <a:effectLst>
            <a:outerShdw blurRad="50800" dist="38100" dir="16200000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557" tIns="44793" rIns="89557" bIns="44793" rtlCol="0" anchor="ctr"/>
          <a:lstStyle/>
          <a:p>
            <a:pPr algn="ctr"/>
            <a:endParaRPr lang="ru-RU" sz="2600" dirty="0">
              <a:solidFill>
                <a:schemeClr val="tx1"/>
              </a:solidFill>
            </a:endParaRPr>
          </a:p>
        </p:txBody>
      </p:sp>
      <p:pic>
        <p:nvPicPr>
          <p:cNvPr id="14" name="Рисунок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11981" y="271171"/>
            <a:ext cx="2671264" cy="711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0027011"/>
      </p:ext>
    </p:extLst>
  </p:cSld>
  <p:clrMapOvr>
    <a:masterClrMapping/>
  </p:clrMapOvr>
  <p:transition spd="med"/>
  <p:extLst mod="1">
    <p:ext uri="{DCECCB84-F9BA-43D5-87BE-67443E8EF086}">
      <p15:sldGuideLst xmlns:p15="http://schemas.microsoft.com/office/powerpoint/2012/main">
        <p15:guide id="1" pos="458">
          <p15:clr>
            <a:srgbClr val="FBAE40"/>
          </p15:clr>
        </p15:guide>
        <p15:guide id="2" pos="8237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5_Заголовок — вверху">
    <p:bg>
      <p:bgPr>
        <a:solidFill>
          <a:srgbClr val="86868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Shape 49"/>
          <p:cNvSpPr>
            <a:spLocks noGrp="1"/>
          </p:cNvSpPr>
          <p:nvPr>
            <p:ph type="sldNum" sz="quarter" idx="2"/>
          </p:nvPr>
        </p:nvSpPr>
        <p:spPr>
          <a:xfrm>
            <a:off x="12129923" y="7348994"/>
            <a:ext cx="1301158" cy="256779"/>
          </a:xfrm>
          <a:prstGeom prst="rect">
            <a:avLst/>
          </a:prstGeom>
        </p:spPr>
        <p:txBody>
          <a:bodyPr lIns="89557" tIns="0" rIns="89557" bIns="44793"/>
          <a:lstStyle>
            <a:lvl1pPr>
              <a:defRPr sz="1400" b="1">
                <a:solidFill>
                  <a:schemeClr val="bg1"/>
                </a:solidFill>
                <a:latin typeface="+mj-lt"/>
              </a:defRPr>
            </a:lvl1pPr>
          </a:lstStyle>
          <a:p>
            <a:fld id="{86CB4B4D-7CA3-9044-876B-883B54F8677D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3" name="Прямоугольник 12"/>
          <p:cNvSpPr/>
          <p:nvPr userDrawn="1"/>
        </p:nvSpPr>
        <p:spPr>
          <a:xfrm>
            <a:off x="0" y="0"/>
            <a:ext cx="13479463" cy="1253616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>
            <a:outerShdw blurRad="50800" dist="38100" dir="5400000" algn="t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418" tIns="52209" rIns="104418" bIns="52209" rtlCol="0" anchor="t"/>
          <a:lstStyle/>
          <a:p>
            <a:pPr algn="ctr" defTabSz="1043734" hangingPunct="1"/>
            <a:endParaRPr lang="ru-RU" sz="1300" kern="12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5" name="Shape 48"/>
          <p:cNvSpPr>
            <a:spLocks noGrp="1"/>
          </p:cNvSpPr>
          <p:nvPr>
            <p:ph type="title" hasCustomPrompt="1"/>
          </p:nvPr>
        </p:nvSpPr>
        <p:spPr>
          <a:xfrm>
            <a:off x="720000" y="427690"/>
            <a:ext cx="9115829" cy="398237"/>
          </a:xfrm>
          <a:prstGeom prst="rect">
            <a:avLst/>
          </a:prstGeom>
          <a:noFill/>
        </p:spPr>
        <p:txBody>
          <a:bodyPr lIns="0" tIns="44793" rIns="89557" bIns="44793" anchor="t">
            <a:spAutoFit/>
          </a:bodyPr>
          <a:lstStyle>
            <a:lvl1pPr algn="l">
              <a:defRPr sz="2000" b="0" cap="none">
                <a:solidFill>
                  <a:srgbClr val="333333"/>
                </a:solidFill>
                <a:latin typeface="Arial"/>
                <a:cs typeface="Arial"/>
                <a:sym typeface="Arial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sp>
        <p:nvSpPr>
          <p:cNvPr id="16" name="Rectangle 102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727374" y="1381548"/>
            <a:ext cx="6748090" cy="26161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0" marR="0" indent="0" algn="l" defTabSz="105297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  <a:defRPr lang="en-US" sz="1700" b="1" smtClean="0">
                <a:solidFill>
                  <a:schemeClr val="bg1"/>
                </a:solidFill>
              </a:defRPr>
            </a:lvl1pPr>
          </a:lstStyle>
          <a:p>
            <a:pPr marL="0" marR="0" lvl="0" indent="0" algn="l" defTabSz="105297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  <a:defRPr/>
            </a:pPr>
            <a:r>
              <a:rPr lang="ru-RU" sz="1700" b="1" dirty="0">
                <a:solidFill>
                  <a:schemeClr val="accent2"/>
                </a:solidFill>
                <a:latin typeface="+mj-lt"/>
              </a:rPr>
              <a:t>Подзаголовок</a:t>
            </a:r>
            <a:endParaRPr lang="en-US" sz="1700" b="1" dirty="0">
              <a:solidFill>
                <a:schemeClr val="accent2"/>
              </a:solidFill>
              <a:latin typeface="+mj-lt"/>
            </a:endParaRPr>
          </a:p>
        </p:txBody>
      </p:sp>
      <p:grpSp>
        <p:nvGrpSpPr>
          <p:cNvPr id="17" name="Группа 16"/>
          <p:cNvGrpSpPr/>
          <p:nvPr userDrawn="1"/>
        </p:nvGrpSpPr>
        <p:grpSpPr>
          <a:xfrm>
            <a:off x="182366" y="427690"/>
            <a:ext cx="358488" cy="398238"/>
            <a:chOff x="236048" y="487324"/>
            <a:chExt cx="251124" cy="278969"/>
          </a:xfrm>
          <a:solidFill>
            <a:srgbClr val="868686"/>
          </a:solidFill>
        </p:grpSpPr>
        <p:sp>
          <p:nvSpPr>
            <p:cNvPr id="18" name="Нашивка 17"/>
            <p:cNvSpPr/>
            <p:nvPr userDrawn="1"/>
          </p:nvSpPr>
          <p:spPr>
            <a:xfrm>
              <a:off x="350349" y="487324"/>
              <a:ext cx="136823" cy="278969"/>
            </a:xfrm>
            <a:prstGeom prst="chevron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4418" tIns="52209" rIns="104418" bIns="52209" rtlCol="0" anchor="t"/>
            <a:lstStyle/>
            <a:p>
              <a:pPr algn="ctr" defTabSz="1043639" hangingPunct="1"/>
              <a:endParaRPr lang="ru-RU" sz="1300" kern="120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9" name="Нашивка 18"/>
            <p:cNvSpPr/>
            <p:nvPr userDrawn="1"/>
          </p:nvSpPr>
          <p:spPr>
            <a:xfrm>
              <a:off x="236048" y="487324"/>
              <a:ext cx="136823" cy="278969"/>
            </a:xfrm>
            <a:prstGeom prst="chevron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4418" tIns="52209" rIns="104418" bIns="52209" rtlCol="0" anchor="t"/>
            <a:lstStyle/>
            <a:p>
              <a:pPr algn="ctr" defTabSz="1043639" hangingPunct="1"/>
              <a:endParaRPr lang="ru-RU" sz="1300" kern="120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</p:grpSp>
      <p:sp>
        <p:nvSpPr>
          <p:cNvPr id="21" name="Прямоугольник 20"/>
          <p:cNvSpPr/>
          <p:nvPr userDrawn="1"/>
        </p:nvSpPr>
        <p:spPr>
          <a:xfrm>
            <a:off x="3" y="7341550"/>
            <a:ext cx="12477759" cy="240357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>
            <a:outerShdw blurRad="50800" dist="38100" dir="16200000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557" tIns="44793" rIns="89557" bIns="44793" rtlCol="0" anchor="ctr"/>
          <a:lstStyle/>
          <a:p>
            <a:pPr algn="ctr"/>
            <a:endParaRPr lang="ru-RU" sz="2600" dirty="0">
              <a:solidFill>
                <a:schemeClr val="tx1"/>
              </a:solidFill>
            </a:endParaRPr>
          </a:p>
        </p:txBody>
      </p:sp>
      <p:sp>
        <p:nvSpPr>
          <p:cNvPr id="22" name="Прямоугольник 21"/>
          <p:cNvSpPr/>
          <p:nvPr userDrawn="1"/>
        </p:nvSpPr>
        <p:spPr>
          <a:xfrm>
            <a:off x="13083245" y="7341550"/>
            <a:ext cx="396218" cy="240357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>
            <a:outerShdw blurRad="50800" dist="38100" dir="16200000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557" tIns="44793" rIns="89557" bIns="44793" rtlCol="0" anchor="ctr"/>
          <a:lstStyle/>
          <a:p>
            <a:pPr algn="ctr"/>
            <a:endParaRPr lang="ru-RU" sz="2600" dirty="0">
              <a:solidFill>
                <a:schemeClr val="tx1"/>
              </a:solidFill>
            </a:endParaRPr>
          </a:p>
        </p:txBody>
      </p:sp>
      <p:pic>
        <p:nvPicPr>
          <p:cNvPr id="23" name="Рисунок 2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6000" y="266808"/>
            <a:ext cx="1569042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7936696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2" pos="458">
          <p15:clr>
            <a:srgbClr val="FBAE40"/>
          </p15:clr>
        </p15:guide>
        <p15:guide id="3" pos="8237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7_Заголовок — вверху">
    <p:bg>
      <p:bgPr>
        <a:solidFill>
          <a:srgbClr val="33333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Shape 49"/>
          <p:cNvSpPr>
            <a:spLocks noGrp="1"/>
          </p:cNvSpPr>
          <p:nvPr>
            <p:ph type="sldNum" sz="quarter" idx="2"/>
          </p:nvPr>
        </p:nvSpPr>
        <p:spPr>
          <a:xfrm>
            <a:off x="12129923" y="7348994"/>
            <a:ext cx="1301158" cy="256779"/>
          </a:xfrm>
          <a:prstGeom prst="rect">
            <a:avLst/>
          </a:prstGeom>
        </p:spPr>
        <p:txBody>
          <a:bodyPr lIns="89557" tIns="0" rIns="89557" bIns="44793"/>
          <a:lstStyle>
            <a:lvl1pPr>
              <a:defRPr sz="1400" b="1">
                <a:solidFill>
                  <a:schemeClr val="bg1">
                    <a:lumMod val="95000"/>
                  </a:schemeClr>
                </a:solidFill>
                <a:latin typeface="+mj-lt"/>
              </a:defRPr>
            </a:lvl1pPr>
          </a:lstStyle>
          <a:p>
            <a:fld id="{86CB4B4D-7CA3-9044-876B-883B54F8677D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3" name="Прямоугольник 12"/>
          <p:cNvSpPr/>
          <p:nvPr userDrawn="1"/>
        </p:nvSpPr>
        <p:spPr>
          <a:xfrm>
            <a:off x="0" y="0"/>
            <a:ext cx="13479463" cy="125361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>
            <a:outerShdw blurRad="50800" dist="38100" dir="5400000" algn="t" rotWithShape="0">
              <a:schemeClr val="tx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418" tIns="52209" rIns="104418" bIns="52209" rtlCol="0" anchor="t"/>
          <a:lstStyle/>
          <a:p>
            <a:pPr algn="ctr" defTabSz="1043734" hangingPunct="1"/>
            <a:endParaRPr lang="ru-RU" sz="1300" kern="12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5" name="Shape 48"/>
          <p:cNvSpPr>
            <a:spLocks noGrp="1"/>
          </p:cNvSpPr>
          <p:nvPr>
            <p:ph type="title" hasCustomPrompt="1"/>
          </p:nvPr>
        </p:nvSpPr>
        <p:spPr>
          <a:xfrm>
            <a:off x="720000" y="427690"/>
            <a:ext cx="9115829" cy="398237"/>
          </a:xfrm>
          <a:prstGeom prst="rect">
            <a:avLst/>
          </a:prstGeom>
          <a:noFill/>
        </p:spPr>
        <p:txBody>
          <a:bodyPr lIns="0" tIns="44793" rIns="89557" bIns="44793" anchor="t">
            <a:spAutoFit/>
          </a:bodyPr>
          <a:lstStyle>
            <a:lvl1pPr algn="l">
              <a:defRPr sz="2000" b="0" cap="none">
                <a:solidFill>
                  <a:srgbClr val="333333"/>
                </a:solidFill>
                <a:latin typeface="Arial"/>
                <a:cs typeface="Arial"/>
                <a:sym typeface="Arial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sp>
        <p:nvSpPr>
          <p:cNvPr id="16" name="Rectangle 102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727374" y="1381548"/>
            <a:ext cx="6748090" cy="26161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0" marR="0" indent="0" algn="l" defTabSz="105297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  <a:defRPr lang="en-US" sz="1700" b="1" smtClean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105297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  <a:defRPr/>
            </a:pPr>
            <a:r>
              <a:rPr lang="ru-RU" sz="1700" b="1" dirty="0">
                <a:solidFill>
                  <a:schemeClr val="accent2"/>
                </a:solidFill>
                <a:latin typeface="+mj-lt"/>
              </a:rPr>
              <a:t>Подзаголовок</a:t>
            </a:r>
            <a:endParaRPr lang="en-US" sz="1700" b="1" dirty="0">
              <a:solidFill>
                <a:schemeClr val="accent2"/>
              </a:solidFill>
              <a:latin typeface="+mj-lt"/>
            </a:endParaRPr>
          </a:p>
        </p:txBody>
      </p:sp>
      <p:grpSp>
        <p:nvGrpSpPr>
          <p:cNvPr id="17" name="Группа 16"/>
          <p:cNvGrpSpPr/>
          <p:nvPr userDrawn="1"/>
        </p:nvGrpSpPr>
        <p:grpSpPr>
          <a:xfrm>
            <a:off x="182366" y="427690"/>
            <a:ext cx="358488" cy="398238"/>
            <a:chOff x="236048" y="487324"/>
            <a:chExt cx="251124" cy="278969"/>
          </a:xfrm>
          <a:solidFill>
            <a:srgbClr val="333333"/>
          </a:solidFill>
        </p:grpSpPr>
        <p:sp>
          <p:nvSpPr>
            <p:cNvPr id="18" name="Нашивка 17"/>
            <p:cNvSpPr/>
            <p:nvPr userDrawn="1"/>
          </p:nvSpPr>
          <p:spPr>
            <a:xfrm>
              <a:off x="350349" y="487324"/>
              <a:ext cx="136823" cy="278969"/>
            </a:xfrm>
            <a:prstGeom prst="chevron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4418" tIns="52209" rIns="104418" bIns="52209" rtlCol="0" anchor="t"/>
            <a:lstStyle/>
            <a:p>
              <a:pPr algn="ctr" defTabSz="1043639" hangingPunct="1"/>
              <a:endParaRPr lang="ru-RU" sz="1300" kern="120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9" name="Нашивка 18"/>
            <p:cNvSpPr/>
            <p:nvPr userDrawn="1"/>
          </p:nvSpPr>
          <p:spPr>
            <a:xfrm>
              <a:off x="236048" y="487324"/>
              <a:ext cx="136823" cy="278969"/>
            </a:xfrm>
            <a:prstGeom prst="chevron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4418" tIns="52209" rIns="104418" bIns="52209" rtlCol="0" anchor="t"/>
            <a:lstStyle/>
            <a:p>
              <a:pPr algn="ctr" defTabSz="1043639" hangingPunct="1"/>
              <a:endParaRPr lang="ru-RU" sz="1300" kern="120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</p:grpSp>
      <p:sp>
        <p:nvSpPr>
          <p:cNvPr id="21" name="Прямоугольник 20"/>
          <p:cNvSpPr/>
          <p:nvPr userDrawn="1"/>
        </p:nvSpPr>
        <p:spPr>
          <a:xfrm>
            <a:off x="3" y="7341550"/>
            <a:ext cx="12477759" cy="24035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>
            <a:outerShdw blurRad="50800" dist="38100" dir="16200000" rotWithShape="0">
              <a:prstClr val="black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557" tIns="44793" rIns="89557" bIns="44793" rtlCol="0" anchor="ctr"/>
          <a:lstStyle/>
          <a:p>
            <a:pPr algn="ctr"/>
            <a:endParaRPr lang="ru-RU" sz="2600" dirty="0">
              <a:solidFill>
                <a:schemeClr val="tx1"/>
              </a:solidFill>
            </a:endParaRPr>
          </a:p>
        </p:txBody>
      </p:sp>
      <p:sp>
        <p:nvSpPr>
          <p:cNvPr id="22" name="Прямоугольник 21"/>
          <p:cNvSpPr/>
          <p:nvPr userDrawn="1"/>
        </p:nvSpPr>
        <p:spPr>
          <a:xfrm>
            <a:off x="13083245" y="7341550"/>
            <a:ext cx="396218" cy="24035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>
            <a:outerShdw blurRad="50800" dist="38100" dir="16200000" rotWithShape="0">
              <a:prstClr val="black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557" tIns="44793" rIns="89557" bIns="44793" rtlCol="0" anchor="ctr"/>
          <a:lstStyle/>
          <a:p>
            <a:pPr algn="ctr"/>
            <a:endParaRPr lang="ru-RU" sz="2600" dirty="0">
              <a:solidFill>
                <a:schemeClr val="tx1"/>
              </a:solidFill>
            </a:endParaRPr>
          </a:p>
        </p:txBody>
      </p:sp>
      <p:pic>
        <p:nvPicPr>
          <p:cNvPr id="23" name="Рисунок 2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6000" y="266808"/>
            <a:ext cx="1569042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8781467"/>
      </p:ext>
    </p:extLst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6_Заголовок — в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0" y="0"/>
            <a:ext cx="13479463" cy="1253616"/>
          </a:xfrm>
          <a:prstGeom prst="rect">
            <a:avLst/>
          </a:prstGeom>
          <a:solidFill>
            <a:srgbClr val="82BA2A"/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418" tIns="52209" rIns="104418" bIns="52209" rtlCol="0" anchor="t"/>
          <a:lstStyle/>
          <a:p>
            <a:pPr algn="ctr" defTabSz="1043734" hangingPunct="1"/>
            <a:endParaRPr lang="ru-RU" sz="1300" kern="12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0" name="Прямоугольник 9"/>
          <p:cNvSpPr/>
          <p:nvPr userDrawn="1"/>
        </p:nvSpPr>
        <p:spPr>
          <a:xfrm>
            <a:off x="3" y="7341550"/>
            <a:ext cx="12477759" cy="240357"/>
          </a:xfrm>
          <a:prstGeom prst="rect">
            <a:avLst/>
          </a:prstGeom>
          <a:solidFill>
            <a:srgbClr val="82BA2A"/>
          </a:solidFill>
          <a:ln w="9525">
            <a:noFill/>
          </a:ln>
          <a:effectLst>
            <a:outerShdw blurRad="50800" dist="38100" dir="16200000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557" tIns="44793" rIns="89557" bIns="44793" rtlCol="0" anchor="ctr"/>
          <a:lstStyle/>
          <a:p>
            <a:pPr algn="ctr"/>
            <a:endParaRPr lang="ru-RU" sz="2600" dirty="0">
              <a:solidFill>
                <a:schemeClr val="tx1"/>
              </a:solidFill>
            </a:endParaRPr>
          </a:p>
        </p:txBody>
      </p:sp>
      <p:sp>
        <p:nvSpPr>
          <p:cNvPr id="48" name="Shape 48"/>
          <p:cNvSpPr>
            <a:spLocks noGrp="1"/>
          </p:cNvSpPr>
          <p:nvPr>
            <p:ph type="title" hasCustomPrompt="1"/>
          </p:nvPr>
        </p:nvSpPr>
        <p:spPr>
          <a:xfrm>
            <a:off x="720000" y="427690"/>
            <a:ext cx="9115829" cy="398237"/>
          </a:xfrm>
          <a:prstGeom prst="rect">
            <a:avLst/>
          </a:prstGeom>
          <a:noFill/>
        </p:spPr>
        <p:txBody>
          <a:bodyPr lIns="0" tIns="44793" rIns="89557" bIns="44793" anchor="t">
            <a:spAutoFit/>
          </a:bodyPr>
          <a:lstStyle>
            <a:lvl1pPr algn="l">
              <a:defRPr sz="2000" b="0" cap="none">
                <a:solidFill>
                  <a:schemeClr val="bg1"/>
                </a:solidFill>
                <a:latin typeface="Arial"/>
                <a:cs typeface="Arial"/>
                <a:sym typeface="Arial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sp>
        <p:nvSpPr>
          <p:cNvPr id="8" name="Rectangle 102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727374" y="1381548"/>
            <a:ext cx="6748090" cy="26161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0" marR="0" indent="0" algn="l" defTabSz="105297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  <a:defRPr lang="en-US" sz="1700" b="1" smtClean="0">
                <a:solidFill>
                  <a:srgbClr val="868686"/>
                </a:solidFill>
              </a:defRPr>
            </a:lvl1pPr>
          </a:lstStyle>
          <a:p>
            <a:pPr marL="0" marR="0" lvl="0" indent="0" algn="l" defTabSz="105297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  <a:defRPr/>
            </a:pPr>
            <a:r>
              <a:rPr lang="ru-RU" sz="1700" b="1" dirty="0">
                <a:solidFill>
                  <a:schemeClr val="accent2"/>
                </a:solidFill>
                <a:latin typeface="+mj-lt"/>
              </a:rPr>
              <a:t>Подзаголовок</a:t>
            </a:r>
            <a:endParaRPr lang="en-US" sz="1700" b="1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49" name="Shape 49"/>
          <p:cNvSpPr>
            <a:spLocks noGrp="1"/>
          </p:cNvSpPr>
          <p:nvPr>
            <p:ph type="sldNum" sz="quarter" idx="2"/>
          </p:nvPr>
        </p:nvSpPr>
        <p:spPr>
          <a:xfrm>
            <a:off x="12129923" y="7348994"/>
            <a:ext cx="1301158" cy="256779"/>
          </a:xfrm>
          <a:prstGeom prst="rect">
            <a:avLst/>
          </a:prstGeom>
        </p:spPr>
        <p:txBody>
          <a:bodyPr lIns="89557" tIns="0" rIns="89557" bIns="44793"/>
          <a:lstStyle>
            <a:lvl1pPr>
              <a:defRPr sz="1400" b="1">
                <a:solidFill>
                  <a:srgbClr val="82BA2A"/>
                </a:solidFill>
                <a:latin typeface="+mj-lt"/>
              </a:defRPr>
            </a:lvl1pPr>
          </a:lstStyle>
          <a:p>
            <a:fld id="{86CB4B4D-7CA3-9044-876B-883B54F8677D}" type="slidenum">
              <a:rPr lang="ru-RU" smtClean="0"/>
              <a:pPr/>
              <a:t>‹#›</a:t>
            </a:fld>
            <a:endParaRPr lang="ru-RU" dirty="0"/>
          </a:p>
        </p:txBody>
      </p:sp>
      <p:grpSp>
        <p:nvGrpSpPr>
          <p:cNvPr id="9" name="Группа 8"/>
          <p:cNvGrpSpPr/>
          <p:nvPr userDrawn="1"/>
        </p:nvGrpSpPr>
        <p:grpSpPr>
          <a:xfrm>
            <a:off x="182366" y="427690"/>
            <a:ext cx="358488" cy="398238"/>
            <a:chOff x="236048" y="487324"/>
            <a:chExt cx="251124" cy="278969"/>
          </a:xfrm>
        </p:grpSpPr>
        <p:sp>
          <p:nvSpPr>
            <p:cNvPr id="4" name="Нашивка 3"/>
            <p:cNvSpPr/>
            <p:nvPr userDrawn="1"/>
          </p:nvSpPr>
          <p:spPr>
            <a:xfrm>
              <a:off x="350349" y="487324"/>
              <a:ext cx="136823" cy="278969"/>
            </a:xfrm>
            <a:prstGeom prst="chevron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4418" tIns="52209" rIns="104418" bIns="52209" rtlCol="0" anchor="t"/>
            <a:lstStyle/>
            <a:p>
              <a:pPr algn="ctr" defTabSz="1043639" hangingPunct="1"/>
              <a:endParaRPr lang="ru-RU" sz="1300" kern="120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4" name="Нашивка 13"/>
            <p:cNvSpPr/>
            <p:nvPr userDrawn="1"/>
          </p:nvSpPr>
          <p:spPr>
            <a:xfrm>
              <a:off x="236048" y="487324"/>
              <a:ext cx="136823" cy="278969"/>
            </a:xfrm>
            <a:prstGeom prst="chevron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4418" tIns="52209" rIns="104418" bIns="52209" rtlCol="0" anchor="t"/>
            <a:lstStyle/>
            <a:p>
              <a:pPr algn="ctr" defTabSz="1043639" hangingPunct="1"/>
              <a:endParaRPr lang="ru-RU" sz="1300" kern="120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</p:grpSp>
      <p:sp>
        <p:nvSpPr>
          <p:cNvPr id="15" name="Прямоугольник 14"/>
          <p:cNvSpPr/>
          <p:nvPr userDrawn="1"/>
        </p:nvSpPr>
        <p:spPr>
          <a:xfrm>
            <a:off x="13083245" y="7341550"/>
            <a:ext cx="396218" cy="240357"/>
          </a:xfrm>
          <a:prstGeom prst="rect">
            <a:avLst/>
          </a:prstGeom>
          <a:solidFill>
            <a:srgbClr val="82BA2A"/>
          </a:solidFill>
          <a:ln w="9525">
            <a:noFill/>
          </a:ln>
          <a:effectLst>
            <a:outerShdw blurRad="50800" dist="38100" dir="16200000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557" tIns="44793" rIns="89557" bIns="44793" rtlCol="0" anchor="ctr"/>
          <a:lstStyle/>
          <a:p>
            <a:pPr algn="ctr"/>
            <a:endParaRPr lang="ru-RU" sz="2600" dirty="0">
              <a:solidFill>
                <a:schemeClr val="tx1"/>
              </a:solidFill>
            </a:endParaRPr>
          </a:p>
        </p:txBody>
      </p:sp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6000" y="266808"/>
            <a:ext cx="1569044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6519999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pos="8237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8.xml"/><Relationship Id="rId10" Type="http://schemas.openxmlformats.org/officeDocument/2006/relationships/image" Target="../media/image16.emf"/><Relationship Id="rId4" Type="http://schemas.openxmlformats.org/officeDocument/2006/relationships/slideLayout" Target="../slideLayouts/slideLayout27.xml"/><Relationship Id="rId9" Type="http://schemas.openxmlformats.org/officeDocument/2006/relationships/image" Target="../media/image22.pn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22.png"/><Relationship Id="rId1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26"/>
            </p:custDataLst>
            <p:extLst/>
          </p:nvPr>
        </p:nvGraphicFramePr>
        <p:xfrm>
          <a:off x="5" y="2"/>
          <a:ext cx="238787" cy="17907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23" name="think-cell Slide" r:id="rId29" imgW="270" imgH="270" progId="TCLayout.ActiveDocument.1">
                  <p:embed/>
                </p:oleObj>
              </mc:Choice>
              <mc:Fallback>
                <p:oleObj name="think-cell Slide" r:id="rId2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5" y="2"/>
                        <a:ext cx="238787" cy="17907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2156590" y="41194"/>
            <a:ext cx="988574" cy="1378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1011597"/>
            <a:endParaRPr lang="ru-RU" sz="100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2418214" y="2194927"/>
            <a:ext cx="1912382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>
                <a:cs typeface="Arial"/>
              </a:rPr>
              <a:t>Last Modified 24.12.2013 21:27 Russian Standard Time</a:t>
            </a:r>
            <a:endParaRPr lang="ru-RU" sz="1700" dirty="0">
              <a:cs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2525615" y="4647027"/>
            <a:ext cx="169758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>
                <a:cs typeface="Arial"/>
              </a:rPr>
              <a:t>Printed 17.12.2013 11:59 Russian Standard Time</a:t>
            </a:r>
            <a:endParaRPr lang="ru-RU" sz="1700" dirty="0">
              <a:cs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184892" y="2200795"/>
            <a:ext cx="6471098" cy="1308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284140" y="30446"/>
            <a:ext cx="1041952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700" dirty="0">
                <a:solidFill>
                  <a:srgbClr val="808080"/>
                </a:solidFill>
                <a:latin typeface="+mn-lt"/>
                <a:cs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79330" y="868500"/>
            <a:ext cx="12963684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700" dirty="0">
                <a:solidFill>
                  <a:srgbClr val="808080"/>
                </a:solidFill>
                <a:cs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79098" y="6973547"/>
            <a:ext cx="12858618" cy="414953"/>
            <a:chOff x="75" y="3747"/>
            <a:chExt cx="5385" cy="403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747"/>
              <a:ext cx="5385" cy="1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200" baseline="0" dirty="0">
                  <a:solidFill>
                    <a:schemeClr val="tx1"/>
                  </a:solidFill>
                  <a:latin typeface="+mn-lt"/>
                  <a:cs typeface="Arial"/>
                </a:rPr>
                <a:t>1 Сноска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3971"/>
              <a:ext cx="4323" cy="1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 anchorCtr="0">
              <a:spAutoFit/>
            </a:bodyPr>
            <a:lstStyle/>
            <a:p>
              <a:pPr marL="688763" indent="-688763" defTabSz="1011597">
                <a:tabLst>
                  <a:tab pos="692334" algn="l"/>
                </a:tabLst>
              </a:pPr>
              <a:r>
                <a:rPr lang="ru-RU" sz="1200" baseline="0" dirty="0">
                  <a:solidFill>
                    <a:schemeClr val="tx1"/>
                  </a:solidFill>
                  <a:latin typeface="+mn-lt"/>
                  <a:cs typeface="Arial"/>
                </a:rPr>
                <a:t>ИСТОЧНИК: источник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184892" y="932967"/>
            <a:ext cx="6413789" cy="911474"/>
            <a:chOff x="915" y="521"/>
            <a:chExt cx="2686" cy="509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521"/>
              <a:ext cx="2686" cy="50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2900" b="1" dirty="0">
                  <a:cs typeface="Arial"/>
                </a:rPr>
                <a:t>Title</a:t>
              </a:r>
            </a:p>
            <a:p>
              <a:r>
                <a:rPr lang="ru-RU" sz="2900" dirty="0">
                  <a:solidFill>
                    <a:srgbClr val="808080"/>
                  </a:solidFill>
                  <a:cs typeface="Arial"/>
                </a:rPr>
                <a:t>Unit of measure</a:t>
              </a:r>
            </a:p>
          </p:txBody>
        </p:sp>
      </p:grpSp>
      <p:sp>
        <p:nvSpPr>
          <p:cNvPr id="20" name="SlideLogoText" hidden="1"/>
          <p:cNvSpPr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11023849" y="7253439"/>
            <a:ext cx="151002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011597"/>
            <a:r>
              <a:rPr lang="en-US" sz="1200" baseline="0" noProof="0" dirty="0">
                <a:solidFill>
                  <a:schemeClr val="bg1"/>
                </a:solidFill>
                <a:latin typeface="+mn-lt"/>
                <a:ea typeface="+mn-ea"/>
                <a:cs typeface="Arial"/>
              </a:rPr>
              <a:t>McKinsey &amp; Company</a:t>
            </a:r>
          </a:p>
        </p:txBody>
      </p:sp>
      <p:sp>
        <p:nvSpPr>
          <p:cNvPr id="21" name="SlideLogoSeparator" hidden="1"/>
          <p:cNvSpPr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12663720" y="7224008"/>
            <a:ext cx="60280" cy="2059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1011597"/>
            <a:r>
              <a:rPr lang="en-US" sz="1400" baseline="0" noProof="0" dirty="0">
                <a:solidFill>
                  <a:schemeClr val="bg1"/>
                </a:solidFill>
                <a:latin typeface="+mn-lt"/>
                <a:ea typeface="+mn-ea"/>
                <a:cs typeface="Arial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23092100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2" r:id="rId1"/>
    <p:sldLayoutId id="2147484023" r:id="rId2"/>
    <p:sldLayoutId id="2147484024" r:id="rId3"/>
    <p:sldLayoutId id="2147484025" r:id="rId4"/>
    <p:sldLayoutId id="2147484026" r:id="rId5"/>
    <p:sldLayoutId id="2147484027" r:id="rId6"/>
    <p:sldLayoutId id="2147484028" r:id="rId7"/>
    <p:sldLayoutId id="2147484029" r:id="rId8"/>
    <p:sldLayoutId id="2147484030" r:id="rId9"/>
    <p:sldLayoutId id="2147484031" r:id="rId10"/>
    <p:sldLayoutId id="2147484032" r:id="rId11"/>
    <p:sldLayoutId id="2147484033" r:id="rId12"/>
    <p:sldLayoutId id="2147484034" r:id="rId13"/>
    <p:sldLayoutId id="2147484035" r:id="rId14"/>
    <p:sldLayoutId id="2147484036" r:id="rId15"/>
    <p:sldLayoutId id="2147484037" r:id="rId16"/>
    <p:sldLayoutId id="2147484038" r:id="rId17"/>
    <p:sldLayoutId id="2147484039" r:id="rId18"/>
    <p:sldLayoutId id="2147484040" r:id="rId19"/>
    <p:sldLayoutId id="2147484041" r:id="rId20"/>
    <p:sldLayoutId id="2147484042" r:id="rId21"/>
    <p:sldLayoutId id="2147484043" r:id="rId22"/>
    <p:sldLayoutId id="2147484044" r:id="rId23"/>
  </p:sldLayoutIdLst>
  <p:hf hdr="0" ftr="0" dt="0"/>
  <p:txStyles>
    <p:titleStyle>
      <a:lvl1pPr algn="l" defTabSz="1011597" rtl="0" eaLnBrk="1" fontAlgn="base" hangingPunct="1">
        <a:spcBef>
          <a:spcPct val="0"/>
        </a:spcBef>
        <a:spcAft>
          <a:spcPct val="0"/>
        </a:spcAft>
        <a:tabLst>
          <a:tab pos="403568" algn="l"/>
        </a:tabLst>
        <a:defRPr sz="2200" b="1">
          <a:solidFill>
            <a:schemeClr val="tx1"/>
          </a:solidFill>
          <a:latin typeface="+mj-lt"/>
          <a:ea typeface="+mj-ea"/>
          <a:cs typeface="Arial"/>
        </a:defRPr>
      </a:lvl1pPr>
      <a:lvl2pPr algn="l" defTabSz="1011597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2pPr>
      <a:lvl3pPr algn="l" defTabSz="1011597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3pPr>
      <a:lvl4pPr algn="l" defTabSz="1011597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4pPr>
      <a:lvl5pPr algn="l" defTabSz="1011597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5pPr>
      <a:lvl6pPr marL="516568" algn="l" defTabSz="1011597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6pPr>
      <a:lvl7pPr marL="1033114" algn="l" defTabSz="1011597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7pPr>
      <a:lvl8pPr marL="1549683" algn="l" defTabSz="1011597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8pPr>
      <a:lvl9pPr marL="2066236" algn="l" defTabSz="1011597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1011597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700">
          <a:solidFill>
            <a:schemeClr val="tx1"/>
          </a:solidFill>
          <a:latin typeface="+mn-lt"/>
          <a:ea typeface="+mn-ea"/>
          <a:cs typeface="Arial"/>
        </a:defRPr>
      </a:lvl1pPr>
      <a:lvl2pPr marL="218821" indent="-217032" algn="l" defTabSz="1011597" rtl="0" eaLnBrk="1" fontAlgn="base" hangingPunct="1">
        <a:spcBef>
          <a:spcPct val="0"/>
        </a:spcBef>
        <a:spcAft>
          <a:spcPct val="0"/>
        </a:spcAft>
        <a:buClrTx/>
        <a:buSzPct val="125000"/>
        <a:buFont typeface="Arial" charset="0"/>
        <a:buChar char="▪"/>
        <a:defRPr sz="1700">
          <a:solidFill>
            <a:schemeClr val="tx1"/>
          </a:solidFill>
          <a:latin typeface="+mn-lt"/>
          <a:cs typeface="Arial"/>
        </a:defRPr>
      </a:lvl2pPr>
      <a:lvl3pPr marL="516568" indent="-295957" algn="l" defTabSz="1011597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charset="0"/>
        <a:buChar char="–"/>
        <a:defRPr sz="1700">
          <a:solidFill>
            <a:schemeClr val="tx1"/>
          </a:solidFill>
          <a:latin typeface="+mn-lt"/>
          <a:cs typeface="Arial"/>
        </a:defRPr>
      </a:lvl3pPr>
      <a:lvl4pPr marL="694129" indent="-175731" algn="l" defTabSz="1011597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charset="0"/>
        <a:buChar char="▫"/>
        <a:defRPr sz="1700">
          <a:solidFill>
            <a:schemeClr val="tx1"/>
          </a:solidFill>
          <a:latin typeface="+mn-lt"/>
          <a:cs typeface="Arial"/>
        </a:defRPr>
      </a:lvl4pPr>
      <a:lvl5pPr marL="847125" indent="-147103" algn="l" defTabSz="1011597" rtl="0" eaLnBrk="1" fontAlgn="base" hangingPunct="1">
        <a:spcBef>
          <a:spcPct val="0"/>
        </a:spcBef>
        <a:spcAft>
          <a:spcPct val="0"/>
        </a:spcAft>
        <a:buClrTx/>
        <a:buSzPct val="89000"/>
        <a:buFont typeface="Arial" charset="0"/>
        <a:buChar char="-"/>
        <a:defRPr sz="1700">
          <a:solidFill>
            <a:schemeClr val="tx1"/>
          </a:solidFill>
          <a:latin typeface="+mn-lt"/>
          <a:cs typeface="Arial"/>
        </a:defRPr>
      </a:lvl5pPr>
      <a:lvl6pPr marL="847125" indent="-147103" algn="l" defTabSz="101159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6pPr>
      <a:lvl7pPr marL="847125" indent="-147103" algn="l" defTabSz="101159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7pPr>
      <a:lvl8pPr marL="847125" indent="-147103" algn="l" defTabSz="101159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8pPr>
      <a:lvl9pPr marL="847125" indent="-147103" algn="l" defTabSz="101159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03311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6568" algn="l" defTabSz="103311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33114" algn="l" defTabSz="103311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49683" algn="l" defTabSz="103311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66236" algn="l" defTabSz="103311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82809" algn="l" defTabSz="103311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99365" algn="l" defTabSz="103311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615912" algn="l" defTabSz="103311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132484" algn="l" defTabSz="103311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BAB389EC-FF32-9B45-A34E-2C80A3BEF5E8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76513" y="101717"/>
            <a:ext cx="1354254" cy="389713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9EC370A0-034D-C648-8663-5E58B37D840D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10524657" y="42532"/>
            <a:ext cx="1575363" cy="493831"/>
          </a:xfrm>
          <a:prstGeom prst="rect">
            <a:avLst/>
          </a:prstGeom>
        </p:spPr>
      </p:pic>
      <p:sp>
        <p:nvSpPr>
          <p:cNvPr id="9" name="Shape 49">
            <a:extLst>
              <a:ext uri="{FF2B5EF4-FFF2-40B4-BE49-F238E27FC236}">
                <a16:creationId xmlns:a16="http://schemas.microsoft.com/office/drawing/2014/main" id="{0BCBBC81-6E4D-B64E-AC52-35E38179DE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129923" y="7348994"/>
            <a:ext cx="1301158" cy="256779"/>
          </a:xfrm>
          <a:prstGeom prst="rect">
            <a:avLst/>
          </a:prstGeom>
        </p:spPr>
        <p:txBody>
          <a:bodyPr lIns="89557" tIns="0" rIns="89557" bIns="44793"/>
          <a:lstStyle>
            <a:lvl1pPr>
              <a:defRPr sz="1400" b="1">
                <a:solidFill>
                  <a:srgbClr val="868686"/>
                </a:solidFill>
                <a:latin typeface="+mj-lt"/>
              </a:defRPr>
            </a:lvl1pPr>
          </a:lstStyle>
          <a:p>
            <a:fld id="{86CB4B4D-7CA3-9044-876B-883B54F8677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529404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0" r:id="rId1"/>
    <p:sldLayoutId id="2147484062" r:id="rId2"/>
    <p:sldLayoutId id="2147484066" r:id="rId3"/>
    <p:sldLayoutId id="2147484061" r:id="rId4"/>
    <p:sldLayoutId id="2147484059" r:id="rId5"/>
    <p:sldLayoutId id="2147484064" r:id="rId6"/>
    <p:sldLayoutId id="2147484049" r:id="rId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BAB389EC-FF32-9B45-A34E-2C80A3BEF5E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-381515" y="2159351"/>
            <a:ext cx="1354254" cy="389713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9EC370A0-034D-C648-8663-5E58B37D840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 rot="16200000">
            <a:off x="-492070" y="642483"/>
            <a:ext cx="1575363" cy="493831"/>
          </a:xfrm>
          <a:prstGeom prst="rect">
            <a:avLst/>
          </a:prstGeom>
        </p:spPr>
      </p:pic>
      <p:graphicFrame>
        <p:nvGraphicFramePr>
          <p:cNvPr id="5" name="Таблица 4">
            <a:extLst>
              <a:ext uri="{FF2B5EF4-FFF2-40B4-BE49-F238E27FC236}">
                <a16:creationId xmlns:a16="http://schemas.microsoft.com/office/drawing/2014/main" id="{26572821-57DF-4D7B-8E00-D4CF0B4DA9ED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851957171"/>
              </p:ext>
            </p:extLst>
          </p:nvPr>
        </p:nvGraphicFramePr>
        <p:xfrm>
          <a:off x="1014677" y="-118886"/>
          <a:ext cx="5144820" cy="782778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14482">
                  <a:extLst>
                    <a:ext uri="{9D8B030D-6E8A-4147-A177-3AD203B41FA5}">
                      <a16:colId xmlns:a16="http://schemas.microsoft.com/office/drawing/2014/main" val="1573149946"/>
                    </a:ext>
                  </a:extLst>
                </a:gridCol>
                <a:gridCol w="514482">
                  <a:extLst>
                    <a:ext uri="{9D8B030D-6E8A-4147-A177-3AD203B41FA5}">
                      <a16:colId xmlns:a16="http://schemas.microsoft.com/office/drawing/2014/main" val="1739360732"/>
                    </a:ext>
                  </a:extLst>
                </a:gridCol>
                <a:gridCol w="514482">
                  <a:extLst>
                    <a:ext uri="{9D8B030D-6E8A-4147-A177-3AD203B41FA5}">
                      <a16:colId xmlns:a16="http://schemas.microsoft.com/office/drawing/2014/main" val="3758158737"/>
                    </a:ext>
                  </a:extLst>
                </a:gridCol>
                <a:gridCol w="514482">
                  <a:extLst>
                    <a:ext uri="{9D8B030D-6E8A-4147-A177-3AD203B41FA5}">
                      <a16:colId xmlns:a16="http://schemas.microsoft.com/office/drawing/2014/main" val="639452218"/>
                    </a:ext>
                  </a:extLst>
                </a:gridCol>
                <a:gridCol w="514482">
                  <a:extLst>
                    <a:ext uri="{9D8B030D-6E8A-4147-A177-3AD203B41FA5}">
                      <a16:colId xmlns:a16="http://schemas.microsoft.com/office/drawing/2014/main" val="3074398416"/>
                    </a:ext>
                  </a:extLst>
                </a:gridCol>
                <a:gridCol w="514482">
                  <a:extLst>
                    <a:ext uri="{9D8B030D-6E8A-4147-A177-3AD203B41FA5}">
                      <a16:colId xmlns:a16="http://schemas.microsoft.com/office/drawing/2014/main" val="420256520"/>
                    </a:ext>
                  </a:extLst>
                </a:gridCol>
                <a:gridCol w="514482">
                  <a:extLst>
                    <a:ext uri="{9D8B030D-6E8A-4147-A177-3AD203B41FA5}">
                      <a16:colId xmlns:a16="http://schemas.microsoft.com/office/drawing/2014/main" val="967830538"/>
                    </a:ext>
                  </a:extLst>
                </a:gridCol>
                <a:gridCol w="514482">
                  <a:extLst>
                    <a:ext uri="{9D8B030D-6E8A-4147-A177-3AD203B41FA5}">
                      <a16:colId xmlns:a16="http://schemas.microsoft.com/office/drawing/2014/main" val="2692945237"/>
                    </a:ext>
                  </a:extLst>
                </a:gridCol>
                <a:gridCol w="514482">
                  <a:extLst>
                    <a:ext uri="{9D8B030D-6E8A-4147-A177-3AD203B41FA5}">
                      <a16:colId xmlns:a16="http://schemas.microsoft.com/office/drawing/2014/main" val="1877859910"/>
                    </a:ext>
                  </a:extLst>
                </a:gridCol>
                <a:gridCol w="514482">
                  <a:extLst>
                    <a:ext uri="{9D8B030D-6E8A-4147-A177-3AD203B41FA5}">
                      <a16:colId xmlns:a16="http://schemas.microsoft.com/office/drawing/2014/main" val="860577297"/>
                    </a:ext>
                  </a:extLst>
                </a:gridCol>
              </a:tblGrid>
              <a:tr h="7827786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93332788"/>
                  </a:ext>
                </a:extLst>
              </a:tr>
            </a:tbl>
          </a:graphicData>
        </a:graphic>
      </p:graphicFrame>
      <p:graphicFrame>
        <p:nvGraphicFramePr>
          <p:cNvPr id="14" name="Таблица 13">
            <a:extLst>
              <a:ext uri="{FF2B5EF4-FFF2-40B4-BE49-F238E27FC236}">
                <a16:creationId xmlns:a16="http://schemas.microsoft.com/office/drawing/2014/main" id="{B2ADB791-315D-4D61-9EFC-3396A1B77DCF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042135101"/>
              </p:ext>
            </p:extLst>
          </p:nvPr>
        </p:nvGraphicFramePr>
        <p:xfrm>
          <a:off x="6154414" y="-118886"/>
          <a:ext cx="5144820" cy="782778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14482">
                  <a:extLst>
                    <a:ext uri="{9D8B030D-6E8A-4147-A177-3AD203B41FA5}">
                      <a16:colId xmlns:a16="http://schemas.microsoft.com/office/drawing/2014/main" val="1573149946"/>
                    </a:ext>
                  </a:extLst>
                </a:gridCol>
                <a:gridCol w="514482">
                  <a:extLst>
                    <a:ext uri="{9D8B030D-6E8A-4147-A177-3AD203B41FA5}">
                      <a16:colId xmlns:a16="http://schemas.microsoft.com/office/drawing/2014/main" val="1739360732"/>
                    </a:ext>
                  </a:extLst>
                </a:gridCol>
                <a:gridCol w="514482">
                  <a:extLst>
                    <a:ext uri="{9D8B030D-6E8A-4147-A177-3AD203B41FA5}">
                      <a16:colId xmlns:a16="http://schemas.microsoft.com/office/drawing/2014/main" val="3758158737"/>
                    </a:ext>
                  </a:extLst>
                </a:gridCol>
                <a:gridCol w="514482">
                  <a:extLst>
                    <a:ext uri="{9D8B030D-6E8A-4147-A177-3AD203B41FA5}">
                      <a16:colId xmlns:a16="http://schemas.microsoft.com/office/drawing/2014/main" val="639452218"/>
                    </a:ext>
                  </a:extLst>
                </a:gridCol>
                <a:gridCol w="514482">
                  <a:extLst>
                    <a:ext uri="{9D8B030D-6E8A-4147-A177-3AD203B41FA5}">
                      <a16:colId xmlns:a16="http://schemas.microsoft.com/office/drawing/2014/main" val="3074398416"/>
                    </a:ext>
                  </a:extLst>
                </a:gridCol>
                <a:gridCol w="514482">
                  <a:extLst>
                    <a:ext uri="{9D8B030D-6E8A-4147-A177-3AD203B41FA5}">
                      <a16:colId xmlns:a16="http://schemas.microsoft.com/office/drawing/2014/main" val="420256520"/>
                    </a:ext>
                  </a:extLst>
                </a:gridCol>
                <a:gridCol w="514482">
                  <a:extLst>
                    <a:ext uri="{9D8B030D-6E8A-4147-A177-3AD203B41FA5}">
                      <a16:colId xmlns:a16="http://schemas.microsoft.com/office/drawing/2014/main" val="967830538"/>
                    </a:ext>
                  </a:extLst>
                </a:gridCol>
                <a:gridCol w="514482">
                  <a:extLst>
                    <a:ext uri="{9D8B030D-6E8A-4147-A177-3AD203B41FA5}">
                      <a16:colId xmlns:a16="http://schemas.microsoft.com/office/drawing/2014/main" val="2692945237"/>
                    </a:ext>
                  </a:extLst>
                </a:gridCol>
                <a:gridCol w="514482">
                  <a:extLst>
                    <a:ext uri="{9D8B030D-6E8A-4147-A177-3AD203B41FA5}">
                      <a16:colId xmlns:a16="http://schemas.microsoft.com/office/drawing/2014/main" val="1877859910"/>
                    </a:ext>
                  </a:extLst>
                </a:gridCol>
                <a:gridCol w="514482">
                  <a:extLst>
                    <a:ext uri="{9D8B030D-6E8A-4147-A177-3AD203B41FA5}">
                      <a16:colId xmlns:a16="http://schemas.microsoft.com/office/drawing/2014/main" val="860577297"/>
                    </a:ext>
                  </a:extLst>
                </a:gridCol>
              </a:tblGrid>
              <a:tr h="7827786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93332788"/>
                  </a:ext>
                </a:extLst>
              </a:tr>
            </a:tbl>
          </a:graphicData>
        </a:graphic>
      </p:graphicFrame>
      <p:graphicFrame>
        <p:nvGraphicFramePr>
          <p:cNvPr id="15" name="Таблица 14">
            <a:extLst>
              <a:ext uri="{FF2B5EF4-FFF2-40B4-BE49-F238E27FC236}">
                <a16:creationId xmlns:a16="http://schemas.microsoft.com/office/drawing/2014/main" id="{74059FAF-D7CC-4BD9-96E8-7750F2F3C647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504271229"/>
              </p:ext>
            </p:extLst>
          </p:nvPr>
        </p:nvGraphicFramePr>
        <p:xfrm>
          <a:off x="11297752" y="-120583"/>
          <a:ext cx="1543446" cy="782778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14482">
                  <a:extLst>
                    <a:ext uri="{9D8B030D-6E8A-4147-A177-3AD203B41FA5}">
                      <a16:colId xmlns:a16="http://schemas.microsoft.com/office/drawing/2014/main" val="1573149946"/>
                    </a:ext>
                  </a:extLst>
                </a:gridCol>
                <a:gridCol w="514482">
                  <a:extLst>
                    <a:ext uri="{9D8B030D-6E8A-4147-A177-3AD203B41FA5}">
                      <a16:colId xmlns:a16="http://schemas.microsoft.com/office/drawing/2014/main" val="1739360732"/>
                    </a:ext>
                  </a:extLst>
                </a:gridCol>
                <a:gridCol w="514482">
                  <a:extLst>
                    <a:ext uri="{9D8B030D-6E8A-4147-A177-3AD203B41FA5}">
                      <a16:colId xmlns:a16="http://schemas.microsoft.com/office/drawing/2014/main" val="3758158737"/>
                    </a:ext>
                  </a:extLst>
                </a:gridCol>
              </a:tblGrid>
              <a:tr h="7827786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9333278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7530609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0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0.xml"/><Relationship Id="rId5" Type="http://schemas.microsoft.com/office/2007/relationships/hdphoto" Target="../media/hdphoto3.wdp"/><Relationship Id="rId4" Type="http://schemas.openxmlformats.org/officeDocument/2006/relationships/image" Target="../media/image45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29.tif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7" Type="http://schemas.microsoft.com/office/2007/relationships/hdphoto" Target="../media/hdphoto2.wdp"/><Relationship Id="rId2" Type="http://schemas.openxmlformats.org/officeDocument/2006/relationships/audio" Target="../media/media1.m4a"/><Relationship Id="rId1" Type="http://schemas.microsoft.com/office/2007/relationships/media" Target="../media/media1.m4a"/><Relationship Id="rId6" Type="http://schemas.openxmlformats.org/officeDocument/2006/relationships/image" Target="../media/image38.png"/><Relationship Id="rId5" Type="http://schemas.openxmlformats.org/officeDocument/2006/relationships/image" Target="../media/image36.png"/><Relationship Id="rId4" Type="http://schemas.openxmlformats.org/officeDocument/2006/relationships/image" Target="../media/image3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emf"/><Relationship Id="rId7" Type="http://schemas.openxmlformats.org/officeDocument/2006/relationships/image" Target="../media/image4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42.PNG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B4D73AEF-888A-E44A-BD03-513534FCB1D7}"/>
              </a:ext>
            </a:extLst>
          </p:cNvPr>
          <p:cNvSpPr/>
          <p:nvPr/>
        </p:nvSpPr>
        <p:spPr>
          <a:xfrm>
            <a:off x="0" y="0"/>
            <a:ext cx="13479463" cy="7581900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6" name="Прямоугольник с одним усеченным углом 15">
            <a:extLst>
              <a:ext uri="{FF2B5EF4-FFF2-40B4-BE49-F238E27FC236}">
                <a16:creationId xmlns:a16="http://schemas.microsoft.com/office/drawing/2014/main" id="{C2FC9085-3077-C143-B9DD-2BDE25F46AF6}"/>
              </a:ext>
            </a:extLst>
          </p:cNvPr>
          <p:cNvSpPr/>
          <p:nvPr/>
        </p:nvSpPr>
        <p:spPr>
          <a:xfrm flipH="1">
            <a:off x="8077199" y="4233333"/>
            <a:ext cx="5402263" cy="3348567"/>
          </a:xfrm>
          <a:prstGeom prst="snip1Rect">
            <a:avLst>
              <a:gd name="adj" fmla="val 5000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6C935D48-4188-9248-9385-94B9BF48052A}"/>
              </a:ext>
            </a:extLst>
          </p:cNvPr>
          <p:cNvSpPr/>
          <p:nvPr/>
        </p:nvSpPr>
        <p:spPr bwMode="auto">
          <a:xfrm>
            <a:off x="0" y="986857"/>
            <a:ext cx="7748715" cy="5091928"/>
          </a:xfrm>
          <a:prstGeom prst="rect">
            <a:avLst/>
          </a:prstGeom>
          <a:noFill/>
          <a:ln w="0">
            <a:noFill/>
            <a:prstDash val="solid"/>
            <a:round/>
            <a:headEnd/>
            <a:tailEnd/>
          </a:ln>
        </p:spPr>
        <p:txBody>
          <a:bodyPr vert="horz" wrap="square" lIns="684000" tIns="26743" rIns="0" bIns="26743" numCol="1" rtlCol="0" anchor="ctr" anchorCtr="0" compatLnSpc="1">
            <a:prstTxWarp prst="textNoShape">
              <a:avLst/>
            </a:prstTxWarp>
          </a:bodyPr>
          <a:lstStyle/>
          <a:p>
            <a:pPr lvl="0" algn="l"/>
            <a:r>
              <a:rPr lang="ru-RU" sz="4800" b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ПРОСТЫЕ ПРАВИЛА БЕЗОПАСНОСТИ</a:t>
            </a:r>
          </a:p>
          <a:p>
            <a:pPr lvl="0" algn="l"/>
            <a:r>
              <a:rPr lang="ru-RU" sz="4800" b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ПРИ ИСПОЛЬЗОВАНИИ БАНКОВСКИХ ПРОДУКТОВ</a:t>
            </a:r>
            <a:r>
              <a:rPr lang="en-US" sz="4800" b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ru-RU" sz="4800" b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И УСЛУГ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3D69F818-1175-4545-A4A7-49F61206D313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pPr/>
              <a:t>1</a:t>
            </a:fld>
            <a:endParaRPr lang="ru-RU" dirty="0"/>
          </a:p>
        </p:txBody>
      </p:sp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D3E5A962-1B4E-4E43-8FF3-DC02DDB6BBC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0532" y="658813"/>
            <a:ext cx="6917039" cy="69170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843160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C635E8A4-3146-D94A-8F65-20178C5A3C35}"/>
              </a:ext>
            </a:extLst>
          </p:cNvPr>
          <p:cNvSpPr/>
          <p:nvPr/>
        </p:nvSpPr>
        <p:spPr>
          <a:xfrm>
            <a:off x="2189749" y="891806"/>
            <a:ext cx="9653420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spcBef>
                <a:spcPct val="0"/>
              </a:spcBef>
              <a:spcAft>
                <a:spcPts val="600"/>
              </a:spcAft>
            </a:pPr>
            <a:r>
              <a:rPr lang="en-US" sz="6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НКОВСКИЕ </a:t>
            </a:r>
            <a:br>
              <a:rPr lang="en-US" sz="6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6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ДУКТЫ</a:t>
            </a:r>
            <a:r>
              <a:rPr lang="ru-RU" sz="6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6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</a:t>
            </a:r>
            <a:r>
              <a:rPr lang="en-US" sz="6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ЛУГИ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6468305" y="3945176"/>
            <a:ext cx="6737350" cy="892552"/>
          </a:xfrm>
          <a:prstGeom prst="rect">
            <a:avLst/>
          </a:prstGeom>
        </p:spPr>
        <p:txBody>
          <a:bodyPr>
            <a:spAutoFit/>
          </a:bodyPr>
          <a:lstStyle/>
          <a:p>
            <a:pPr algn="l"/>
            <a:r>
              <a:rPr lang="ru-RU" dirty="0">
                <a:latin typeface="SBSansDisplay"/>
              </a:rPr>
              <a:t>Получать пенсию на </a:t>
            </a:r>
            <a:r>
              <a:rPr lang="ru-RU" dirty="0" err="1">
                <a:latin typeface="SBSansDisplay"/>
              </a:rPr>
              <a:t>СберКарту</a:t>
            </a:r>
            <a:r>
              <a:rPr lang="ru-RU" dirty="0">
                <a:latin typeface="SBSansDisplay"/>
              </a:rPr>
              <a:t> Мир — выгодно</a:t>
            </a:r>
          </a:p>
        </p:txBody>
      </p:sp>
    </p:spTree>
    <p:extLst>
      <p:ext uri="{BB962C8B-B14F-4D97-AF65-F5344CB8AC3E}">
        <p14:creationId xmlns:p14="http://schemas.microsoft.com/office/powerpoint/2010/main" val="7395472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3479462" cy="7652399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164252" y="140833"/>
            <a:ext cx="652792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010961" hangingPunct="1"/>
            <a:r>
              <a:rPr lang="ru-RU" sz="4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НКОВСКАЯ КАРТА</a:t>
            </a:r>
            <a:endParaRPr lang="ru-RU" sz="40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24F3044D-654D-054C-A876-BD81E1EEE16D}"/>
              </a:ext>
            </a:extLst>
          </p:cNvPr>
          <p:cNvSpPr txBox="1">
            <a:spLocks/>
          </p:cNvSpPr>
          <p:nvPr/>
        </p:nvSpPr>
        <p:spPr>
          <a:xfrm>
            <a:off x="214528" y="1140704"/>
            <a:ext cx="11821962" cy="5924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400" b="1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algn="l" defTabSz="1010961" hangingPunct="1">
              <a:lnSpc>
                <a:spcPts val="3900"/>
              </a:lnSpc>
            </a:pPr>
            <a:r>
              <a:rPr lang="ru-RU" sz="36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Что важно знать:</a:t>
            </a:r>
          </a:p>
        </p:txBody>
      </p:sp>
      <p:cxnSp>
        <p:nvCxnSpPr>
          <p:cNvPr id="6" name="Прямая со стрелкой 5">
            <a:extLst>
              <a:ext uri="{FF2B5EF4-FFF2-40B4-BE49-F238E27FC236}">
                <a16:creationId xmlns:a16="http://schemas.microsoft.com/office/drawing/2014/main" id="{03FE08BA-1232-4144-B30F-2A0A74E863F3}"/>
              </a:ext>
            </a:extLst>
          </p:cNvPr>
          <p:cNvCxnSpPr>
            <a:cxnSpLocks/>
          </p:cNvCxnSpPr>
          <p:nvPr/>
        </p:nvCxnSpPr>
        <p:spPr>
          <a:xfrm>
            <a:off x="1975680" y="6347008"/>
            <a:ext cx="3037481" cy="0"/>
          </a:xfrm>
          <a:prstGeom prst="straightConnector1">
            <a:avLst/>
          </a:prstGeom>
          <a:ln w="44450">
            <a:solidFill>
              <a:schemeClr val="accent2"/>
            </a:solidFill>
            <a:prstDash val="sysDot"/>
            <a:tailEnd type="arrow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>
            <a:extLst>
              <a:ext uri="{FF2B5EF4-FFF2-40B4-BE49-F238E27FC236}">
                <a16:creationId xmlns:a16="http://schemas.microsoft.com/office/drawing/2014/main" id="{CDEF09C8-E3B6-0C4F-8DF3-F3AE0E6ABD8C}"/>
              </a:ext>
            </a:extLst>
          </p:cNvPr>
          <p:cNvCxnSpPr>
            <a:cxnSpLocks/>
          </p:cNvCxnSpPr>
          <p:nvPr/>
        </p:nvCxnSpPr>
        <p:spPr>
          <a:xfrm>
            <a:off x="1772480" y="5062348"/>
            <a:ext cx="0" cy="604964"/>
          </a:xfrm>
          <a:prstGeom prst="line">
            <a:avLst/>
          </a:prstGeom>
          <a:ln w="44450">
            <a:solidFill>
              <a:schemeClr val="accent2"/>
            </a:solidFill>
            <a:prstDash val="sysDot"/>
            <a:headEnd type="non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8DE4B154-1A7F-894E-93B7-63B1F031B128}"/>
              </a:ext>
            </a:extLst>
          </p:cNvPr>
          <p:cNvSpPr/>
          <p:nvPr/>
        </p:nvSpPr>
        <p:spPr>
          <a:xfrm>
            <a:off x="295275" y="3307571"/>
            <a:ext cx="1512472" cy="6924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l" defTabSz="1010938" hangingPunct="1">
              <a:lnSpc>
                <a:spcPts val="2660"/>
              </a:lnSpc>
            </a:pPr>
            <a:r>
              <a:rPr lang="ru-RU" sz="28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омер карты</a:t>
            </a: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4AE51131-824D-5D4F-B6B8-205692A67DCE}"/>
              </a:ext>
            </a:extLst>
          </p:cNvPr>
          <p:cNvSpPr/>
          <p:nvPr/>
        </p:nvSpPr>
        <p:spPr>
          <a:xfrm flipH="1">
            <a:off x="299915" y="4358657"/>
            <a:ext cx="2357350" cy="6924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l" defTabSz="1010938" hangingPunct="1">
              <a:lnSpc>
                <a:spcPts val="2660"/>
              </a:lnSpc>
            </a:pPr>
            <a:r>
              <a:rPr lang="ru-RU" sz="28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рок действия</a:t>
            </a: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B91DF706-1D25-B947-9BF2-8E982D5A9920}"/>
              </a:ext>
            </a:extLst>
          </p:cNvPr>
          <p:cNvSpPr/>
          <p:nvPr/>
        </p:nvSpPr>
        <p:spPr>
          <a:xfrm>
            <a:off x="299915" y="5433673"/>
            <a:ext cx="2237556" cy="6924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l" defTabSz="1010938" hangingPunct="1">
              <a:lnSpc>
                <a:spcPts val="2660"/>
              </a:lnSpc>
            </a:pPr>
            <a:r>
              <a:rPr lang="ru-RU" sz="28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мя держателя</a:t>
            </a: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1533D149-5D86-604D-ADD9-23D3015C38AD}"/>
              </a:ext>
            </a:extLst>
          </p:cNvPr>
          <p:cNvSpPr/>
          <p:nvPr/>
        </p:nvSpPr>
        <p:spPr>
          <a:xfrm>
            <a:off x="9078941" y="632284"/>
            <a:ext cx="3371947" cy="13849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l" defTabSz="1010938" hangingPunct="1">
              <a:lnSpc>
                <a:spcPts val="2660"/>
              </a:lnSpc>
            </a:pPr>
            <a:r>
              <a:rPr lang="ru-RU" sz="28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олные данные </a:t>
            </a:r>
          </a:p>
          <a:p>
            <a:pPr algn="l" defTabSz="1010938" hangingPunct="1">
              <a:lnSpc>
                <a:spcPts val="2660"/>
              </a:lnSpc>
            </a:pPr>
            <a:r>
              <a:rPr lang="ru-RU" sz="28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агнитной полосы </a:t>
            </a:r>
          </a:p>
          <a:p>
            <a:pPr algn="l" defTabSz="1010938" hangingPunct="1">
              <a:lnSpc>
                <a:spcPts val="2660"/>
              </a:lnSpc>
            </a:pPr>
            <a:r>
              <a:rPr lang="ru-RU" sz="28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ли её эквивалента </a:t>
            </a:r>
            <a:r>
              <a:rPr lang="en-US" sz="28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/>
            </a:r>
            <a:br>
              <a:rPr lang="en-US" sz="28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ru-RU" sz="28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а чипе</a:t>
            </a:r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CF30335B-5F11-6445-BA23-02B1B09D6CD9}"/>
              </a:ext>
            </a:extLst>
          </p:cNvPr>
          <p:cNvSpPr/>
          <p:nvPr/>
        </p:nvSpPr>
        <p:spPr>
          <a:xfrm>
            <a:off x="9925806" y="4062524"/>
            <a:ext cx="3237067" cy="103874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l" defTabSz="1010938" hangingPunct="1">
              <a:lnSpc>
                <a:spcPts val="2660"/>
              </a:lnSpc>
            </a:pPr>
            <a:r>
              <a:rPr lang="ru-RU" sz="28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од </a:t>
            </a:r>
          </a:p>
          <a:p>
            <a:pPr algn="l" defTabSz="1010938" hangingPunct="1">
              <a:lnSpc>
                <a:spcPts val="2660"/>
              </a:lnSpc>
            </a:pPr>
            <a:r>
              <a:rPr lang="ru-RU" sz="28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езопасности (</a:t>
            </a:r>
            <a:r>
              <a:rPr lang="en-US" sz="28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VC)</a:t>
            </a:r>
            <a:endParaRPr lang="ru-RU" sz="2800" kern="12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A8EB14B4-53EB-C749-A025-D22C2A02C562}"/>
              </a:ext>
            </a:extLst>
          </p:cNvPr>
          <p:cNvSpPr/>
          <p:nvPr/>
        </p:nvSpPr>
        <p:spPr>
          <a:xfrm>
            <a:off x="9531210" y="2647064"/>
            <a:ext cx="2228800" cy="3462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l" defTabSz="1010938" hangingPunct="1">
              <a:lnSpc>
                <a:spcPts val="2660"/>
              </a:lnSpc>
            </a:pPr>
            <a:r>
              <a:rPr lang="en-US" sz="28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IN</a:t>
            </a:r>
            <a:r>
              <a:rPr lang="ru-RU" sz="28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-код</a:t>
            </a:r>
          </a:p>
        </p:txBody>
      </p:sp>
      <p:cxnSp>
        <p:nvCxnSpPr>
          <p:cNvPr id="28" name="Прямая со стрелкой 27">
            <a:extLst>
              <a:ext uri="{FF2B5EF4-FFF2-40B4-BE49-F238E27FC236}">
                <a16:creationId xmlns:a16="http://schemas.microsoft.com/office/drawing/2014/main" id="{5E570129-264B-D049-A5F2-62D72AECE69C}"/>
              </a:ext>
            </a:extLst>
          </p:cNvPr>
          <p:cNvCxnSpPr>
            <a:cxnSpLocks/>
          </p:cNvCxnSpPr>
          <p:nvPr/>
        </p:nvCxnSpPr>
        <p:spPr>
          <a:xfrm>
            <a:off x="1772480" y="5667312"/>
            <a:ext cx="2366188" cy="0"/>
          </a:xfrm>
          <a:prstGeom prst="straightConnector1">
            <a:avLst/>
          </a:prstGeom>
          <a:ln w="44450">
            <a:solidFill>
              <a:schemeClr val="accent2"/>
            </a:solidFill>
            <a:prstDash val="sysDot"/>
            <a:tailEnd type="arrow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единительная линия 30">
            <a:extLst>
              <a:ext uri="{FF2B5EF4-FFF2-40B4-BE49-F238E27FC236}">
                <a16:creationId xmlns:a16="http://schemas.microsoft.com/office/drawing/2014/main" id="{AE3F3D85-5FAC-484C-BDD0-1F9D36C6B9F3}"/>
              </a:ext>
            </a:extLst>
          </p:cNvPr>
          <p:cNvCxnSpPr>
            <a:cxnSpLocks/>
          </p:cNvCxnSpPr>
          <p:nvPr/>
        </p:nvCxnSpPr>
        <p:spPr>
          <a:xfrm>
            <a:off x="1945200" y="6128438"/>
            <a:ext cx="0" cy="218570"/>
          </a:xfrm>
          <a:prstGeom prst="line">
            <a:avLst/>
          </a:prstGeom>
          <a:ln w="44450">
            <a:solidFill>
              <a:schemeClr val="accent2"/>
            </a:solidFill>
            <a:prstDash val="sysDot"/>
            <a:headEnd type="non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единительная линия 32">
            <a:extLst>
              <a:ext uri="{FF2B5EF4-FFF2-40B4-BE49-F238E27FC236}">
                <a16:creationId xmlns:a16="http://schemas.microsoft.com/office/drawing/2014/main" id="{F07617AF-0364-4747-8BCF-604A04793488}"/>
              </a:ext>
            </a:extLst>
          </p:cNvPr>
          <p:cNvCxnSpPr>
            <a:cxnSpLocks/>
          </p:cNvCxnSpPr>
          <p:nvPr/>
        </p:nvCxnSpPr>
        <p:spPr>
          <a:xfrm>
            <a:off x="2107760" y="3653819"/>
            <a:ext cx="0" cy="1494768"/>
          </a:xfrm>
          <a:prstGeom prst="line">
            <a:avLst/>
          </a:prstGeom>
          <a:ln w="44450">
            <a:solidFill>
              <a:schemeClr val="accent2"/>
            </a:solidFill>
            <a:prstDash val="sysDot"/>
            <a:headEnd type="non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 стрелкой 34">
            <a:extLst>
              <a:ext uri="{FF2B5EF4-FFF2-40B4-BE49-F238E27FC236}">
                <a16:creationId xmlns:a16="http://schemas.microsoft.com/office/drawing/2014/main" id="{0C24B917-2180-854E-8791-DDDADC13505B}"/>
              </a:ext>
            </a:extLst>
          </p:cNvPr>
          <p:cNvCxnSpPr>
            <a:cxnSpLocks/>
          </p:cNvCxnSpPr>
          <p:nvPr/>
        </p:nvCxnSpPr>
        <p:spPr>
          <a:xfrm>
            <a:off x="2107760" y="5168907"/>
            <a:ext cx="667925" cy="0"/>
          </a:xfrm>
          <a:prstGeom prst="straightConnector1">
            <a:avLst/>
          </a:prstGeom>
          <a:ln w="44450">
            <a:solidFill>
              <a:schemeClr val="accent2"/>
            </a:solidFill>
            <a:prstDash val="sysDot"/>
            <a:tailEnd type="arrow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единительная линия 37">
            <a:extLst>
              <a:ext uri="{FF2B5EF4-FFF2-40B4-BE49-F238E27FC236}">
                <a16:creationId xmlns:a16="http://schemas.microsoft.com/office/drawing/2014/main" id="{CB1E5A3F-F23E-1740-B583-DE267228AF2B}"/>
              </a:ext>
            </a:extLst>
          </p:cNvPr>
          <p:cNvCxnSpPr>
            <a:cxnSpLocks/>
          </p:cNvCxnSpPr>
          <p:nvPr/>
        </p:nvCxnSpPr>
        <p:spPr>
          <a:xfrm flipH="1">
            <a:off x="1418693" y="3669507"/>
            <a:ext cx="689067" cy="0"/>
          </a:xfrm>
          <a:prstGeom prst="line">
            <a:avLst/>
          </a:prstGeom>
          <a:ln w="44450">
            <a:solidFill>
              <a:schemeClr val="accent2"/>
            </a:solidFill>
            <a:prstDash val="sysDot"/>
            <a:headEnd type="non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 стрелкой 28">
            <a:extLst>
              <a:ext uri="{FF2B5EF4-FFF2-40B4-BE49-F238E27FC236}">
                <a16:creationId xmlns:a16="http://schemas.microsoft.com/office/drawing/2014/main" id="{C683F493-6BC0-A84B-BA27-4C84998E120D}"/>
              </a:ext>
            </a:extLst>
          </p:cNvPr>
          <p:cNvCxnSpPr>
            <a:cxnSpLocks/>
          </p:cNvCxnSpPr>
          <p:nvPr/>
        </p:nvCxnSpPr>
        <p:spPr>
          <a:xfrm flipH="1">
            <a:off x="8744978" y="4401203"/>
            <a:ext cx="667925" cy="0"/>
          </a:xfrm>
          <a:prstGeom prst="straightConnector1">
            <a:avLst/>
          </a:prstGeom>
          <a:ln w="44450">
            <a:solidFill>
              <a:schemeClr val="accent2"/>
            </a:solidFill>
            <a:prstDash val="sysDot"/>
            <a:tailEnd type="arrow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0FD05ADE-761F-B04E-A6C4-BFF8E6D6C844}"/>
              </a:ext>
            </a:extLst>
          </p:cNvPr>
          <p:cNvSpPr/>
          <p:nvPr/>
        </p:nvSpPr>
        <p:spPr>
          <a:xfrm>
            <a:off x="8023366" y="4242185"/>
            <a:ext cx="554585" cy="31803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l" defTabSz="1010938" hangingPunct="1">
              <a:lnSpc>
                <a:spcPts val="2660"/>
              </a:lnSpc>
            </a:pPr>
            <a:r>
              <a:rPr lang="ru-RU" sz="2000" i="1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39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F0A78C56-2702-0242-9068-96D6E4A0354E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2550" t="1" b="39979"/>
          <a:stretch/>
        </p:blipFill>
        <p:spPr>
          <a:xfrm>
            <a:off x="6976369" y="3746145"/>
            <a:ext cx="553431" cy="445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77733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C635E8A4-3146-D94A-8F65-20178C5A3C35}"/>
              </a:ext>
            </a:extLst>
          </p:cNvPr>
          <p:cNvSpPr/>
          <p:nvPr/>
        </p:nvSpPr>
        <p:spPr>
          <a:xfrm>
            <a:off x="2476503" y="49828"/>
            <a:ext cx="965342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spcBef>
                <a:spcPct val="0"/>
              </a:spcBef>
              <a:spcAft>
                <a:spcPts val="600"/>
              </a:spcAft>
            </a:pPr>
            <a:r>
              <a:rPr lang="ru-RU" sz="5400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берКарта</a:t>
            </a:r>
            <a:r>
              <a:rPr lang="ru-RU" sz="5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дебетовая</a:t>
            </a:r>
            <a:endParaRPr lang="en-US" sz="5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346658" y="860774"/>
            <a:ext cx="12038059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latin typeface="SBSansText"/>
              </a:rPr>
              <a:t>Дебетовая </a:t>
            </a:r>
            <a:r>
              <a:rPr lang="ru-RU" dirty="0">
                <a:latin typeface="SBSansText"/>
              </a:rPr>
              <a:t>карта привязана к вашему банковскому счёту, на котором, </a:t>
            </a:r>
            <a:r>
              <a:rPr lang="ru-RU" dirty="0" smtClean="0">
                <a:latin typeface="SBSansText"/>
              </a:rPr>
              <a:t>как в </a:t>
            </a:r>
            <a:r>
              <a:rPr lang="ru-RU" dirty="0">
                <a:latin typeface="SBSansText"/>
              </a:rPr>
              <a:t>сейфе, лежат ваши деньги. Карта — это ключ к такому сейфу.</a:t>
            </a:r>
            <a:endParaRPr lang="ru-RU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346658" y="1784104"/>
            <a:ext cx="12809784" cy="62786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ru-RU" b="1" dirty="0" smtClean="0">
                <a:solidFill>
                  <a:schemeClr val="bg1"/>
                </a:solidFill>
                <a:latin typeface="SBSansDisplay"/>
              </a:rPr>
              <a:t>             </a:t>
            </a:r>
            <a:r>
              <a:rPr lang="ru-RU" sz="3600" b="1" dirty="0" smtClean="0">
                <a:solidFill>
                  <a:schemeClr val="bg1"/>
                </a:solidFill>
                <a:latin typeface="SBSansDisplay"/>
              </a:rPr>
              <a:t>Получать </a:t>
            </a:r>
            <a:r>
              <a:rPr lang="ru-RU" sz="3600" b="1" dirty="0">
                <a:solidFill>
                  <a:schemeClr val="bg1"/>
                </a:solidFill>
                <a:latin typeface="SBSansDisplay"/>
              </a:rPr>
              <a:t>пенсию на </a:t>
            </a:r>
            <a:r>
              <a:rPr lang="ru-RU" sz="3600" b="1" dirty="0" err="1">
                <a:solidFill>
                  <a:schemeClr val="bg1"/>
                </a:solidFill>
                <a:latin typeface="SBSansDisplay"/>
              </a:rPr>
              <a:t>СберКарту</a:t>
            </a:r>
            <a:r>
              <a:rPr lang="ru-RU" sz="3600" b="1" dirty="0">
                <a:solidFill>
                  <a:schemeClr val="bg1"/>
                </a:solidFill>
                <a:latin typeface="SBSansDisplay"/>
              </a:rPr>
              <a:t> Мир — выгодно</a:t>
            </a:r>
          </a:p>
          <a:p>
            <a:pPr algn="l"/>
            <a:r>
              <a:rPr lang="ru-RU" sz="1800" dirty="0" smtClean="0">
                <a:latin typeface="SBSansDisplay"/>
              </a:rPr>
              <a:t>0 ₽  </a:t>
            </a:r>
            <a:r>
              <a:rPr lang="ru-RU" sz="1800" dirty="0" smtClean="0">
                <a:solidFill>
                  <a:srgbClr val="262626"/>
                </a:solidFill>
                <a:latin typeface="SBSansDisplay"/>
              </a:rPr>
              <a:t>Обслуживание </a:t>
            </a:r>
            <a:r>
              <a:rPr lang="ru-RU" sz="1800" dirty="0" smtClean="0">
                <a:latin typeface="SBSansText"/>
              </a:rPr>
              <a:t>для </a:t>
            </a:r>
            <a:r>
              <a:rPr lang="ru-RU" sz="1800" dirty="0">
                <a:latin typeface="SBSansText"/>
              </a:rPr>
              <a:t>тех, кто на пенсии или получает пособия</a:t>
            </a:r>
            <a:r>
              <a:rPr lang="ru-RU" sz="1800" dirty="0" smtClean="0">
                <a:latin typeface="SBSansText"/>
              </a:rPr>
              <a:t>,</a:t>
            </a:r>
          </a:p>
          <a:p>
            <a:pPr algn="l"/>
            <a:r>
              <a:rPr lang="ru-RU" sz="1800" dirty="0" smtClean="0">
                <a:solidFill>
                  <a:srgbClr val="262626"/>
                </a:solidFill>
                <a:latin typeface="SBSansDisplay"/>
              </a:rPr>
              <a:t>0% За</a:t>
            </a:r>
            <a:r>
              <a:rPr lang="ru-RU" sz="1800" dirty="0">
                <a:solidFill>
                  <a:srgbClr val="262626"/>
                </a:solidFill>
                <a:latin typeface="SBSansDisplay"/>
              </a:rPr>
              <a:t> </a:t>
            </a:r>
            <a:r>
              <a:rPr lang="ru-RU" sz="1800" dirty="0" smtClean="0">
                <a:solidFill>
                  <a:srgbClr val="262626"/>
                </a:solidFill>
                <a:latin typeface="SBSansDisplay"/>
              </a:rPr>
              <a:t>переводы   </a:t>
            </a:r>
            <a:r>
              <a:rPr lang="ru-RU" sz="1800" dirty="0" smtClean="0">
                <a:latin typeface="SBSansText"/>
              </a:rPr>
              <a:t>другим </a:t>
            </a:r>
            <a:r>
              <a:rPr lang="ru-RU" sz="1800" dirty="0">
                <a:latin typeface="SBSansText"/>
              </a:rPr>
              <a:t>клиентам </a:t>
            </a:r>
            <a:r>
              <a:rPr lang="ru-RU" sz="1800" dirty="0" err="1">
                <a:latin typeface="SBSansText"/>
              </a:rPr>
              <a:t>СберБанка</a:t>
            </a:r>
            <a:r>
              <a:rPr lang="ru-RU" sz="1800" dirty="0">
                <a:latin typeface="SBSansText"/>
              </a:rPr>
              <a:t> — до 50 000 ₽ в месяц</a:t>
            </a:r>
          </a:p>
          <a:p>
            <a:pPr algn="l"/>
            <a:r>
              <a:rPr lang="ru-RU" sz="1800" dirty="0" smtClean="0">
                <a:solidFill>
                  <a:srgbClr val="262626"/>
                </a:solidFill>
                <a:latin typeface="SBSansDisplay"/>
              </a:rPr>
              <a:t>0 ₽</a:t>
            </a:r>
            <a:r>
              <a:rPr lang="ru-RU" sz="1800" dirty="0" smtClean="0">
                <a:latin typeface="SBSansDisplay"/>
              </a:rPr>
              <a:t> </a:t>
            </a:r>
            <a:r>
              <a:rPr lang="ru-RU" sz="1800" dirty="0" smtClean="0">
                <a:solidFill>
                  <a:srgbClr val="262626"/>
                </a:solidFill>
                <a:latin typeface="SBSansDisplay"/>
              </a:rPr>
              <a:t>Снятие наличных  </a:t>
            </a:r>
            <a:r>
              <a:rPr lang="ru-RU" sz="1800" dirty="0" smtClean="0">
                <a:latin typeface="SBSansText"/>
              </a:rPr>
              <a:t>до 300 000 ₽ в день в банкоматах </a:t>
            </a:r>
            <a:r>
              <a:rPr lang="ru-RU" sz="1800" dirty="0" err="1" smtClean="0">
                <a:latin typeface="SBSansText"/>
              </a:rPr>
              <a:t>СберБанка</a:t>
            </a:r>
            <a:endParaRPr lang="ru-RU" sz="1800" dirty="0" smtClean="0">
              <a:latin typeface="SBSansText"/>
            </a:endParaRPr>
          </a:p>
          <a:p>
            <a:pPr algn="l"/>
            <a:r>
              <a:rPr lang="ru-RU" sz="1800" dirty="0" smtClean="0">
                <a:latin typeface="SBSansDisplay"/>
              </a:rPr>
              <a:t>3,5</a:t>
            </a:r>
            <a:r>
              <a:rPr lang="ru-RU" sz="1800" dirty="0">
                <a:latin typeface="SBSansDisplay"/>
              </a:rPr>
              <a:t>% годовых на </a:t>
            </a:r>
            <a:r>
              <a:rPr lang="ru-RU" sz="1800" dirty="0" smtClean="0">
                <a:latin typeface="SBSansDisplay"/>
              </a:rPr>
              <a:t>остаток </a:t>
            </a:r>
            <a:r>
              <a:rPr lang="ru-RU" sz="1800" dirty="0" smtClean="0">
                <a:latin typeface="SBSansText"/>
              </a:rPr>
              <a:t>начисляются </a:t>
            </a:r>
            <a:r>
              <a:rPr lang="ru-RU" sz="1800" dirty="0">
                <a:latin typeface="SBSansText"/>
              </a:rPr>
              <a:t>на карту Мир пенсионерам один раз в 3 </a:t>
            </a:r>
            <a:r>
              <a:rPr lang="ru-RU" sz="1800" dirty="0" smtClean="0">
                <a:latin typeface="SBSansText"/>
              </a:rPr>
              <a:t>месяца</a:t>
            </a:r>
          </a:p>
          <a:p>
            <a:pPr algn="l"/>
            <a:r>
              <a:rPr lang="ru-RU" sz="1800" dirty="0">
                <a:latin typeface="SBSansText"/>
              </a:rPr>
              <a:t>Для тех кто получает пенсию на </a:t>
            </a:r>
            <a:r>
              <a:rPr lang="ru-RU" sz="1800" dirty="0" err="1">
                <a:latin typeface="SBSansText"/>
              </a:rPr>
              <a:t>Сбер</a:t>
            </a:r>
            <a:r>
              <a:rPr lang="ru-RU" sz="1800" dirty="0">
                <a:latin typeface="SBSansText"/>
              </a:rPr>
              <a:t> и открывает накопительный счет впервые действует повышенная ставка 18% годовых. А также +2,5% к ставке по </a:t>
            </a:r>
            <a:r>
              <a:rPr lang="ru-RU" sz="1800" dirty="0" err="1">
                <a:latin typeface="SBSansText"/>
              </a:rPr>
              <a:t>СберВкладу</a:t>
            </a:r>
            <a:r>
              <a:rPr lang="ru-RU" sz="1800" dirty="0">
                <a:latin typeface="SBSansText"/>
              </a:rPr>
              <a:t> </a:t>
            </a:r>
            <a:endParaRPr lang="ru-RU" sz="1800" dirty="0" smtClean="0">
              <a:latin typeface="SBSansText"/>
            </a:endParaRPr>
          </a:p>
          <a:p>
            <a:pPr algn="l"/>
            <a:r>
              <a:rPr lang="ru-RU" sz="1800" dirty="0">
                <a:latin typeface="SBSansText"/>
              </a:rPr>
              <a:t>Сниженные процентные ставки на потребительские кредиты на 1%. Оформление только по паспорту</a:t>
            </a:r>
            <a:r>
              <a:rPr lang="ru-RU" sz="1800" dirty="0" smtClean="0">
                <a:latin typeface="SBSansText"/>
              </a:rPr>
              <a:t>.</a:t>
            </a:r>
          </a:p>
          <a:p>
            <a:pPr algn="l"/>
            <a:r>
              <a:rPr lang="ru-RU" sz="1800" dirty="0">
                <a:latin typeface="SBSansText"/>
              </a:rPr>
              <a:t>Деньги до пенсии — это просто! Одолжите у банка до 30 000 на месяц</a:t>
            </a:r>
          </a:p>
          <a:p>
            <a:pPr algn="l"/>
            <a:endParaRPr lang="ru-RU" sz="1800" dirty="0">
              <a:latin typeface="SBSansText"/>
            </a:endParaRPr>
          </a:p>
          <a:p>
            <a:pPr algn="l"/>
            <a:r>
              <a:rPr lang="ru-RU" sz="3600" b="1" dirty="0" smtClean="0"/>
              <a:t>Пользоваться </a:t>
            </a:r>
            <a:r>
              <a:rPr lang="ru-RU" sz="3600" b="1" dirty="0"/>
              <a:t>пенсионной картой – </a:t>
            </a:r>
            <a:r>
              <a:rPr lang="ru-RU" sz="3600" b="1" dirty="0" smtClean="0"/>
              <a:t>удобно</a:t>
            </a:r>
          </a:p>
          <a:p>
            <a:pPr algn="l"/>
            <a:r>
              <a:rPr lang="ru-RU" sz="1800" dirty="0" smtClean="0"/>
              <a:t>Пенсия </a:t>
            </a:r>
            <a:r>
              <a:rPr lang="ru-RU" sz="1800" dirty="0"/>
              <a:t>и пособия приходят сразу на </a:t>
            </a:r>
            <a:r>
              <a:rPr lang="ru-RU" sz="1800" dirty="0" smtClean="0"/>
              <a:t>карту</a:t>
            </a:r>
          </a:p>
          <a:p>
            <a:pPr algn="l"/>
            <a:r>
              <a:rPr lang="ru-RU" sz="1800" dirty="0" smtClean="0"/>
              <a:t>Оплачивайте </a:t>
            </a:r>
            <a:r>
              <a:rPr lang="ru-RU" sz="1800" dirty="0"/>
              <a:t>ЖКХ в приложении </a:t>
            </a:r>
            <a:r>
              <a:rPr lang="ru-RU" sz="1800" dirty="0" err="1"/>
              <a:t>СберБанк</a:t>
            </a:r>
            <a:r>
              <a:rPr lang="ru-RU" sz="1800" dirty="0"/>
              <a:t> </a:t>
            </a:r>
            <a:r>
              <a:rPr lang="ru-RU" sz="1800" dirty="0" smtClean="0"/>
              <a:t>Онлайн-автоматическая </a:t>
            </a:r>
            <a:r>
              <a:rPr lang="ru-RU" sz="1800" dirty="0"/>
              <a:t>оплата ЖКХ при подключении </a:t>
            </a:r>
            <a:r>
              <a:rPr lang="ru-RU" sz="1800" dirty="0" err="1"/>
              <a:t>автоплатежа</a:t>
            </a:r>
            <a:endParaRPr lang="ru-RU" sz="1800" dirty="0" smtClean="0"/>
          </a:p>
          <a:p>
            <a:pPr algn="l"/>
            <a:r>
              <a:rPr lang="ru-RU" sz="1800" dirty="0" smtClean="0"/>
              <a:t>Снимайте </a:t>
            </a:r>
            <a:r>
              <a:rPr lang="ru-RU" sz="1800" dirty="0"/>
              <a:t>наличные по всей </a:t>
            </a:r>
            <a:r>
              <a:rPr lang="ru-RU" sz="1800" dirty="0" smtClean="0"/>
              <a:t>стране</a:t>
            </a:r>
          </a:p>
          <a:p>
            <a:pPr algn="l"/>
            <a:r>
              <a:rPr lang="ru-RU" sz="1800" dirty="0" smtClean="0"/>
              <a:t>Повышенные </a:t>
            </a:r>
            <a:r>
              <a:rPr lang="ru-RU" sz="1800" dirty="0"/>
              <a:t>бонусы спасибо. Можно выбрать до 5 категорий и получать </a:t>
            </a:r>
            <a:r>
              <a:rPr lang="ru-RU" sz="1800" dirty="0" err="1"/>
              <a:t>кэшбэк</a:t>
            </a:r>
            <a:r>
              <a:rPr lang="ru-RU" sz="1800" dirty="0"/>
              <a:t> бонусами до 10%. Только полезные категории, такие как «Аптеки</a:t>
            </a:r>
            <a:r>
              <a:rPr lang="ru-RU" sz="1800" dirty="0" smtClean="0"/>
              <a:t>».</a:t>
            </a:r>
          </a:p>
          <a:p>
            <a:pPr algn="l"/>
            <a:endParaRPr lang="ru-RU" dirty="0"/>
          </a:p>
          <a:p>
            <a:pPr algn="l"/>
            <a:endParaRPr lang="ru-RU" b="1" dirty="0" smtClean="0"/>
          </a:p>
          <a:p>
            <a:pPr algn="l"/>
            <a:endParaRPr lang="ru-RU" dirty="0">
              <a:latin typeface="SBSansText"/>
            </a:endParaRPr>
          </a:p>
        </p:txBody>
      </p:sp>
    </p:spTree>
    <p:extLst>
      <p:ext uri="{BB962C8B-B14F-4D97-AF65-F5344CB8AC3E}">
        <p14:creationId xmlns:p14="http://schemas.microsoft.com/office/powerpoint/2010/main" val="373507203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977183" y="3053878"/>
            <a:ext cx="4138025" cy="952516"/>
          </a:xfrm>
          <a:prstGeom prst="rect">
            <a:avLst/>
          </a:prstGeom>
          <a:noFill/>
        </p:spPr>
        <p:txBody>
          <a:bodyPr wrap="square" lIns="120345" tIns="60172" rIns="120345" bIns="60172" rtlCol="0">
            <a:spAutoFit/>
          </a:bodyPr>
          <a:lstStyle/>
          <a:p>
            <a:pPr algn="l">
              <a:spcBef>
                <a:spcPct val="0"/>
              </a:spcBef>
              <a:spcAft>
                <a:spcPts val="600"/>
              </a:spcAft>
            </a:pPr>
            <a:r>
              <a:rPr lang="ru-RU" sz="5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АСИБО!</a:t>
            </a:r>
          </a:p>
        </p:txBody>
      </p:sp>
    </p:spTree>
    <p:extLst>
      <p:ext uri="{BB962C8B-B14F-4D97-AF65-F5344CB8AC3E}">
        <p14:creationId xmlns:p14="http://schemas.microsoft.com/office/powerpoint/2010/main" val="103169792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3">
            <a:extLst>
              <a:ext uri="{FF2B5EF4-FFF2-40B4-BE49-F238E27FC236}">
                <a16:creationId xmlns:a16="http://schemas.microsoft.com/office/drawing/2014/main" id="{8BAECC66-39C3-0043-AAB6-C765596157DD}"/>
              </a:ext>
            </a:extLst>
          </p:cNvPr>
          <p:cNvSpPr/>
          <p:nvPr/>
        </p:nvSpPr>
        <p:spPr>
          <a:xfrm>
            <a:off x="295276" y="1250667"/>
            <a:ext cx="3436970" cy="6098327"/>
          </a:xfrm>
          <a:prstGeom prst="rect">
            <a:avLst/>
          </a:prstGeom>
          <a:solidFill>
            <a:srgbClr val="92D050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75" dirty="0"/>
          </a:p>
        </p:txBody>
      </p:sp>
      <p:sp>
        <p:nvSpPr>
          <p:cNvPr id="24" name="Прямоугольник 23"/>
          <p:cNvSpPr/>
          <p:nvPr/>
        </p:nvSpPr>
        <p:spPr>
          <a:xfrm>
            <a:off x="164548" y="165307"/>
            <a:ext cx="7830169" cy="6368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792" tIns="67396" rIns="134792" bIns="673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l" defTabSz="1010961" eaLnBrk="1" hangingPunct="1">
              <a:defRPr/>
            </a:pPr>
            <a:r>
              <a:rPr lang="ru-RU" sz="4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ТО НУЖНО ЗНАТЬ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4178828" y="1448412"/>
            <a:ext cx="9234364" cy="245613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792" tIns="67396" rIns="134792" bIns="67396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 marL="0" marR="0" indent="0" algn="l" defTabSz="895531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>
              <a:defRPr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l" defTabSz="444753" rtl="0" eaLnBrk="1" fontAlgn="auto" latinLnBrk="0" hangingPunct="0">
              <a:lnSpc>
                <a:spcPts val="4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4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Социальная инженерия</a:t>
            </a:r>
            <a:r>
              <a:rPr lang="ru-RU" sz="4000" b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– </a:t>
            </a:r>
          </a:p>
          <a:p>
            <a:pPr marL="0" marR="0" lvl="0" indent="0" algn="l" defTabSz="444753" rtl="0" eaLnBrk="1" fontAlgn="auto" latinLnBrk="0" hangingPunct="0">
              <a:lnSpc>
                <a:spcPts val="4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4000" b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воздействие мошенников на людей, при котором жертвы собственными руками отдают свои деньги или сообщают данные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178828" y="4987637"/>
            <a:ext cx="8601674" cy="23696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792" tIns="67396" rIns="134792" bIns="67396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 marL="0" marR="0" indent="0" algn="l" defTabSz="895531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>
              <a:defRPr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>
              <a:lnSpc>
                <a:spcPts val="4500"/>
              </a:lnSpc>
              <a:defRPr/>
            </a:pPr>
            <a:r>
              <a:rPr lang="ru-RU" sz="4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Мошенничество по телефону</a:t>
            </a:r>
            <a:r>
              <a:rPr lang="ru-RU" sz="4000" b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– </a:t>
            </a:r>
          </a:p>
          <a:p>
            <a:pPr algn="l">
              <a:lnSpc>
                <a:spcPts val="4500"/>
              </a:lnSpc>
              <a:defRPr/>
            </a:pPr>
            <a:r>
              <a:rPr lang="ru-RU" sz="4000" b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вид социальной инженерии, при котором мошенники задействуют телефон</a:t>
            </a:r>
          </a:p>
        </p:txBody>
      </p:sp>
      <p:sp>
        <p:nvSpPr>
          <p:cNvPr id="4" name="Овал 3">
            <a:extLst>
              <a:ext uri="{FF2B5EF4-FFF2-40B4-BE49-F238E27FC236}">
                <a16:creationId xmlns:a16="http://schemas.microsoft.com/office/drawing/2014/main" id="{16D7D5CE-449E-674E-BD28-DB914943B3EE}"/>
              </a:ext>
            </a:extLst>
          </p:cNvPr>
          <p:cNvSpPr/>
          <p:nvPr/>
        </p:nvSpPr>
        <p:spPr>
          <a:xfrm>
            <a:off x="658110" y="1448412"/>
            <a:ext cx="2711302" cy="271130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Овал 11">
            <a:extLst>
              <a:ext uri="{FF2B5EF4-FFF2-40B4-BE49-F238E27FC236}">
                <a16:creationId xmlns:a16="http://schemas.microsoft.com/office/drawing/2014/main" id="{A427907D-F569-414B-A6E6-646BB9058F82}"/>
              </a:ext>
            </a:extLst>
          </p:cNvPr>
          <p:cNvSpPr/>
          <p:nvPr/>
        </p:nvSpPr>
        <p:spPr>
          <a:xfrm>
            <a:off x="658110" y="4489324"/>
            <a:ext cx="2711302" cy="271130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" name="Рисунок 6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84950FAD-D49A-EA4E-9CEE-27B44C92626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5442" y="1631249"/>
            <a:ext cx="2328753" cy="2345628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56DB7C50-30E1-F040-8C9D-D538DC924BC3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935442" y="4759243"/>
            <a:ext cx="2157202" cy="2171464"/>
          </a:xfrm>
          <a:prstGeom prst="rect">
            <a:avLst/>
          </a:prstGeom>
        </p:spPr>
      </p:pic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9C15C919-EBC7-F14E-918A-7F05B73B6015}"/>
              </a:ext>
            </a:extLst>
          </p:cNvPr>
          <p:cNvSpPr/>
          <p:nvPr/>
        </p:nvSpPr>
        <p:spPr>
          <a:xfrm rot="20880511">
            <a:off x="1513079" y="5064512"/>
            <a:ext cx="806435" cy="312219"/>
          </a:xfrm>
          <a:prstGeom prst="rect">
            <a:avLst/>
          </a:prstGeom>
          <a:solidFill>
            <a:srgbClr val="EE81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9634DAC-F96F-534F-BC5C-7BCD18C24D07}"/>
              </a:ext>
            </a:extLst>
          </p:cNvPr>
          <p:cNvSpPr txBox="1"/>
          <p:nvPr/>
        </p:nvSpPr>
        <p:spPr>
          <a:xfrm rot="20878806">
            <a:off x="1078095" y="5020567"/>
            <a:ext cx="16764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solidFill>
                  <a:schemeClr val="bg1"/>
                </a:solidFill>
              </a:rPr>
              <a:t>9000</a:t>
            </a:r>
          </a:p>
        </p:txBody>
      </p:sp>
    </p:spTree>
    <p:extLst>
      <p:ext uri="{BB962C8B-B14F-4D97-AF65-F5344CB8AC3E}">
        <p14:creationId xmlns:p14="http://schemas.microsoft.com/office/powerpoint/2010/main" val="259332873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2" name="Прямая соединительная линия 31">
            <a:extLst>
              <a:ext uri="{FF2B5EF4-FFF2-40B4-BE49-F238E27FC236}">
                <a16:creationId xmlns:a16="http://schemas.microsoft.com/office/drawing/2014/main" id="{E1C53D11-00D8-C448-84BE-0FAD653DEEB3}"/>
              </a:ext>
            </a:extLst>
          </p:cNvPr>
          <p:cNvCxnSpPr/>
          <p:nvPr/>
        </p:nvCxnSpPr>
        <p:spPr>
          <a:xfrm>
            <a:off x="9032932" y="3218274"/>
            <a:ext cx="282345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195371" y="196380"/>
            <a:ext cx="8837561" cy="1195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010961" hangingPunct="1">
              <a:lnSpc>
                <a:spcPts val="4300"/>
              </a:lnSpc>
              <a:defRPr/>
            </a:pPr>
            <a:r>
              <a:rPr lang="ru-RU" sz="40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АК РАСПОЗНАТЬ МОШЕННИКА ПО ТЕЛЕФОНУ?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1373167" y="1701923"/>
            <a:ext cx="8008577" cy="58374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010961" hangingPunct="1">
              <a:spcBef>
                <a:spcPts val="800"/>
              </a:spcBef>
              <a:spcAft>
                <a:spcPts val="800"/>
              </a:spcAft>
            </a:pPr>
            <a:r>
              <a:rPr lang="ru-RU" sz="32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езнакомый или скрытый номер телефона </a:t>
            </a:r>
          </a:p>
          <a:p>
            <a:pPr algn="l" defTabSz="1010961" hangingPunct="1">
              <a:spcBef>
                <a:spcPts val="800"/>
              </a:spcBef>
              <a:spcAft>
                <a:spcPts val="800"/>
              </a:spcAft>
            </a:pPr>
            <a:r>
              <a:rPr lang="ru-RU" sz="32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незапность и требование быстрого принятия решения</a:t>
            </a:r>
          </a:p>
          <a:p>
            <a:pPr algn="l" defTabSz="1010961" hangingPunct="1">
              <a:spcBef>
                <a:spcPts val="800"/>
              </a:spcBef>
              <a:spcAft>
                <a:spcPts val="800"/>
              </a:spcAft>
            </a:pPr>
            <a:r>
              <a:rPr lang="ru-RU" sz="32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Чрезмерная настойчивость или заискивание/уговаривание</a:t>
            </a:r>
          </a:p>
          <a:p>
            <a:pPr algn="l" defTabSz="1010961" hangingPunct="1">
              <a:spcBef>
                <a:spcPts val="800"/>
              </a:spcBef>
              <a:spcAft>
                <a:spcPts val="800"/>
              </a:spcAft>
            </a:pPr>
            <a:r>
              <a:rPr lang="ru-RU" sz="32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евнятность и нечеткость ответов     </a:t>
            </a:r>
            <a:br>
              <a:rPr lang="ru-RU" sz="32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ru-RU" sz="32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а Ваши вопросы</a:t>
            </a:r>
          </a:p>
          <a:p>
            <a:pPr algn="l" defTabSz="1010961" hangingPunct="1">
              <a:spcBef>
                <a:spcPts val="800"/>
              </a:spcBef>
              <a:spcAft>
                <a:spcPts val="800"/>
              </a:spcAft>
            </a:pPr>
            <a:r>
              <a:rPr lang="ru-RU" sz="32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нтерес к Вашим персональным данным под предлогом помощи</a:t>
            </a:r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293CBD9E-4D61-ED49-9FBA-A99BA17971E1}"/>
              </a:ext>
            </a:extLst>
          </p:cNvPr>
          <p:cNvGrpSpPr/>
          <p:nvPr/>
        </p:nvGrpSpPr>
        <p:grpSpPr>
          <a:xfrm>
            <a:off x="295275" y="1627206"/>
            <a:ext cx="965290" cy="1200329"/>
            <a:chOff x="295275" y="1827242"/>
            <a:chExt cx="965290" cy="1200329"/>
          </a:xfrm>
        </p:grpSpPr>
        <p:sp>
          <p:nvSpPr>
            <p:cNvPr id="17" name="Овал 16"/>
            <p:cNvSpPr/>
            <p:nvPr/>
          </p:nvSpPr>
          <p:spPr>
            <a:xfrm>
              <a:off x="295275" y="1911926"/>
              <a:ext cx="965290" cy="965290"/>
            </a:xfrm>
            <a:prstGeom prst="ellipse">
              <a:avLst/>
            </a:prstGeom>
            <a:solidFill>
              <a:srgbClr val="92D05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15440" tIns="57720" rIns="115440" bIns="57720" rtlCol="0" anchor="t"/>
            <a:lstStyle/>
            <a:p>
              <a:pPr defTabSz="1153952" hangingPunct="1"/>
              <a:endParaRPr lang="ru-RU" sz="5400" kern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408518" y="1827242"/>
              <a:ext cx="699721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 defTabSz="1010961" hangingPunct="1"/>
              <a:r>
                <a:rPr lang="en-US" sz="7200" kern="1200" dirty="0">
                  <a:solidFill>
                    <a:prstClr val="white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1</a:t>
              </a:r>
              <a:endParaRPr lang="ru-RU" sz="7200" kern="1200" dirty="0">
                <a:solidFill>
                  <a:prstClr val="white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9" name="Группа 18"/>
          <p:cNvGrpSpPr/>
          <p:nvPr/>
        </p:nvGrpSpPr>
        <p:grpSpPr>
          <a:xfrm>
            <a:off x="295275" y="2789668"/>
            <a:ext cx="965290" cy="1200328"/>
            <a:chOff x="4197351" y="2548011"/>
            <a:chExt cx="315993" cy="392934"/>
          </a:xfrm>
        </p:grpSpPr>
        <p:sp>
          <p:nvSpPr>
            <p:cNvPr id="20" name="Овал 19"/>
            <p:cNvSpPr/>
            <p:nvPr/>
          </p:nvSpPr>
          <p:spPr>
            <a:xfrm>
              <a:off x="4197351" y="2585957"/>
              <a:ext cx="315993" cy="315993"/>
            </a:xfrm>
            <a:prstGeom prst="ellipse">
              <a:avLst/>
            </a:prstGeom>
            <a:solidFill>
              <a:srgbClr val="92D05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15440" tIns="57720" rIns="115440" bIns="57720" rtlCol="0" anchor="t"/>
            <a:lstStyle/>
            <a:p>
              <a:pPr defTabSz="1153952" hangingPunct="1"/>
              <a:endParaRPr lang="ru-RU" sz="5400" kern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4237644" y="2548011"/>
              <a:ext cx="235408" cy="39293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 defTabSz="1010961" hangingPunct="1"/>
              <a:r>
                <a:rPr lang="en-US" sz="7200" kern="1200" dirty="0">
                  <a:solidFill>
                    <a:prstClr val="white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2</a:t>
              </a:r>
              <a:endParaRPr lang="ru-RU" sz="7200" kern="1200" dirty="0">
                <a:solidFill>
                  <a:prstClr val="white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2" name="Группа 21"/>
          <p:cNvGrpSpPr/>
          <p:nvPr/>
        </p:nvGrpSpPr>
        <p:grpSpPr>
          <a:xfrm>
            <a:off x="297088" y="3952129"/>
            <a:ext cx="965290" cy="1200330"/>
            <a:chOff x="4216401" y="2886932"/>
            <a:chExt cx="315993" cy="392935"/>
          </a:xfrm>
        </p:grpSpPr>
        <p:sp>
          <p:nvSpPr>
            <p:cNvPr id="23" name="Овал 22"/>
            <p:cNvSpPr/>
            <p:nvPr/>
          </p:nvSpPr>
          <p:spPr>
            <a:xfrm>
              <a:off x="4216401" y="2928857"/>
              <a:ext cx="315993" cy="315993"/>
            </a:xfrm>
            <a:prstGeom prst="ellipse">
              <a:avLst/>
            </a:prstGeom>
            <a:solidFill>
              <a:srgbClr val="92D05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15440" tIns="57720" rIns="115440" bIns="57720" rtlCol="0" anchor="t"/>
            <a:lstStyle/>
            <a:p>
              <a:pPr defTabSz="1153952" hangingPunct="1"/>
              <a:endParaRPr lang="ru-RU" sz="5400" kern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4259869" y="2886932"/>
              <a:ext cx="229058" cy="39293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 defTabSz="1010961" hangingPunct="1"/>
              <a:r>
                <a:rPr lang="en-US" sz="7200" kern="1200" dirty="0">
                  <a:solidFill>
                    <a:prstClr val="white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3</a:t>
              </a:r>
              <a:endParaRPr lang="ru-RU" sz="7200" kern="1200" dirty="0">
                <a:solidFill>
                  <a:prstClr val="white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5" name="Группа 24"/>
          <p:cNvGrpSpPr/>
          <p:nvPr/>
        </p:nvGrpSpPr>
        <p:grpSpPr>
          <a:xfrm>
            <a:off x="295275" y="5114592"/>
            <a:ext cx="965290" cy="1200330"/>
            <a:chOff x="4231641" y="3222495"/>
            <a:chExt cx="315993" cy="392935"/>
          </a:xfrm>
        </p:grpSpPr>
        <p:sp>
          <p:nvSpPr>
            <p:cNvPr id="26" name="Овал 25"/>
            <p:cNvSpPr/>
            <p:nvPr/>
          </p:nvSpPr>
          <p:spPr>
            <a:xfrm>
              <a:off x="4231641" y="3264137"/>
              <a:ext cx="315993" cy="315993"/>
            </a:xfrm>
            <a:prstGeom prst="ellipse">
              <a:avLst/>
            </a:prstGeom>
            <a:solidFill>
              <a:srgbClr val="92D05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15440" tIns="57720" rIns="115440" bIns="57720" rtlCol="0" anchor="t"/>
            <a:lstStyle/>
            <a:p>
              <a:pPr defTabSz="1153952" hangingPunct="1"/>
              <a:endParaRPr lang="ru-RU" sz="5400" kern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4268502" y="3222495"/>
              <a:ext cx="229058" cy="39293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 defTabSz="1010961" hangingPunct="1"/>
              <a:r>
                <a:rPr lang="en-US" sz="7200" kern="1200" dirty="0">
                  <a:solidFill>
                    <a:prstClr val="white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4</a:t>
              </a:r>
              <a:endParaRPr lang="ru-RU" sz="7200" kern="1200" dirty="0">
                <a:solidFill>
                  <a:prstClr val="white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8" name="Группа 27"/>
          <p:cNvGrpSpPr/>
          <p:nvPr/>
        </p:nvGrpSpPr>
        <p:grpSpPr>
          <a:xfrm>
            <a:off x="295275" y="6277055"/>
            <a:ext cx="965290" cy="1200328"/>
            <a:chOff x="4231641" y="3561786"/>
            <a:chExt cx="315993" cy="392934"/>
          </a:xfrm>
        </p:grpSpPr>
        <p:sp>
          <p:nvSpPr>
            <p:cNvPr id="29" name="Овал 28"/>
            <p:cNvSpPr/>
            <p:nvPr/>
          </p:nvSpPr>
          <p:spPr>
            <a:xfrm>
              <a:off x="4231641" y="3599417"/>
              <a:ext cx="315993" cy="315993"/>
            </a:xfrm>
            <a:prstGeom prst="ellipse">
              <a:avLst/>
            </a:prstGeom>
            <a:solidFill>
              <a:srgbClr val="92D05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15440" tIns="57720" rIns="115440" bIns="57720" rtlCol="0" anchor="t"/>
            <a:lstStyle/>
            <a:p>
              <a:pPr defTabSz="1153952" hangingPunct="1"/>
              <a:endParaRPr lang="ru-RU" sz="5400" kern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4275291" y="3561786"/>
              <a:ext cx="229058" cy="39293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1010961" hangingPunct="1"/>
              <a:r>
                <a:rPr lang="en-US" sz="7200" kern="1200" dirty="0">
                  <a:solidFill>
                    <a:prstClr val="white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5</a:t>
              </a:r>
              <a:endParaRPr lang="ru-RU" sz="7200" kern="1200" dirty="0">
                <a:solidFill>
                  <a:prstClr val="white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B303C4DF-7213-6940-B3BB-5D33F242005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1993" y="1019087"/>
            <a:ext cx="2137020" cy="6329907"/>
          </a:xfrm>
          <a:prstGeom prst="rect">
            <a:avLst/>
          </a:prstGeom>
        </p:spPr>
      </p:pic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F9C9B98D-05BC-9442-A2C4-AC24FF601B08}"/>
              </a:ext>
            </a:extLst>
          </p:cNvPr>
          <p:cNvGrpSpPr/>
          <p:nvPr/>
        </p:nvGrpSpPr>
        <p:grpSpPr>
          <a:xfrm rot="13251974">
            <a:off x="9492383" y="2003501"/>
            <a:ext cx="829928" cy="829928"/>
            <a:chOff x="8378709" y="1414376"/>
            <a:chExt cx="829928" cy="829928"/>
          </a:xfrm>
        </p:grpSpPr>
        <p:sp>
          <p:nvSpPr>
            <p:cNvPr id="8" name="Дуга 7">
              <a:extLst>
                <a:ext uri="{FF2B5EF4-FFF2-40B4-BE49-F238E27FC236}">
                  <a16:creationId xmlns:a16="http://schemas.microsoft.com/office/drawing/2014/main" id="{C81F4144-7A8E-0C40-84E2-59CB3C7F13CF}"/>
                </a:ext>
              </a:extLst>
            </p:cNvPr>
            <p:cNvSpPr/>
            <p:nvPr/>
          </p:nvSpPr>
          <p:spPr>
            <a:xfrm>
              <a:off x="8518967" y="1627206"/>
              <a:ext cx="479386" cy="479386"/>
            </a:xfrm>
            <a:prstGeom prst="arc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1" name="Дуга 30">
              <a:extLst>
                <a:ext uri="{FF2B5EF4-FFF2-40B4-BE49-F238E27FC236}">
                  <a16:creationId xmlns:a16="http://schemas.microsoft.com/office/drawing/2014/main" id="{D3F8E3E2-4D15-3244-AA1C-9858E140864F}"/>
                </a:ext>
              </a:extLst>
            </p:cNvPr>
            <p:cNvSpPr/>
            <p:nvPr/>
          </p:nvSpPr>
          <p:spPr>
            <a:xfrm>
              <a:off x="8404110" y="1518271"/>
              <a:ext cx="709099" cy="709099"/>
            </a:xfrm>
            <a:prstGeom prst="arc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3" name="Дуга 32">
              <a:extLst>
                <a:ext uri="{FF2B5EF4-FFF2-40B4-BE49-F238E27FC236}">
                  <a16:creationId xmlns:a16="http://schemas.microsoft.com/office/drawing/2014/main" id="{20A756DC-408B-3B44-A947-EA3FC81CD348}"/>
                </a:ext>
              </a:extLst>
            </p:cNvPr>
            <p:cNvSpPr/>
            <p:nvPr/>
          </p:nvSpPr>
          <p:spPr>
            <a:xfrm>
              <a:off x="8378709" y="1414376"/>
              <a:ext cx="829928" cy="829928"/>
            </a:xfrm>
            <a:prstGeom prst="arc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34" name="Группа 33">
            <a:extLst>
              <a:ext uri="{FF2B5EF4-FFF2-40B4-BE49-F238E27FC236}">
                <a16:creationId xmlns:a16="http://schemas.microsoft.com/office/drawing/2014/main" id="{180D9F74-3DA2-C846-B516-F8BB5685EDA8}"/>
              </a:ext>
            </a:extLst>
          </p:cNvPr>
          <p:cNvGrpSpPr/>
          <p:nvPr/>
        </p:nvGrpSpPr>
        <p:grpSpPr>
          <a:xfrm rot="1182668">
            <a:off x="9898497" y="1960013"/>
            <a:ext cx="829928" cy="829928"/>
            <a:chOff x="8378709" y="1414376"/>
            <a:chExt cx="829928" cy="829928"/>
          </a:xfrm>
        </p:grpSpPr>
        <p:sp>
          <p:nvSpPr>
            <p:cNvPr id="35" name="Дуга 34">
              <a:extLst>
                <a:ext uri="{FF2B5EF4-FFF2-40B4-BE49-F238E27FC236}">
                  <a16:creationId xmlns:a16="http://schemas.microsoft.com/office/drawing/2014/main" id="{3158813B-D927-D642-B979-8656F77DC2B8}"/>
                </a:ext>
              </a:extLst>
            </p:cNvPr>
            <p:cNvSpPr/>
            <p:nvPr/>
          </p:nvSpPr>
          <p:spPr>
            <a:xfrm>
              <a:off x="8518967" y="1627206"/>
              <a:ext cx="479386" cy="479386"/>
            </a:xfrm>
            <a:prstGeom prst="arc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6" name="Дуга 35">
              <a:extLst>
                <a:ext uri="{FF2B5EF4-FFF2-40B4-BE49-F238E27FC236}">
                  <a16:creationId xmlns:a16="http://schemas.microsoft.com/office/drawing/2014/main" id="{10302527-3664-4C4E-BEE6-2CBB36459000}"/>
                </a:ext>
              </a:extLst>
            </p:cNvPr>
            <p:cNvSpPr/>
            <p:nvPr/>
          </p:nvSpPr>
          <p:spPr>
            <a:xfrm>
              <a:off x="8404110" y="1518271"/>
              <a:ext cx="709099" cy="709099"/>
            </a:xfrm>
            <a:prstGeom prst="arc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7" name="Дуга 36">
              <a:extLst>
                <a:ext uri="{FF2B5EF4-FFF2-40B4-BE49-F238E27FC236}">
                  <a16:creationId xmlns:a16="http://schemas.microsoft.com/office/drawing/2014/main" id="{BE5E16E4-18E7-DE4F-A579-C13A47F77A59}"/>
                </a:ext>
              </a:extLst>
            </p:cNvPr>
            <p:cNvSpPr/>
            <p:nvPr/>
          </p:nvSpPr>
          <p:spPr>
            <a:xfrm>
              <a:off x="8378709" y="1414376"/>
              <a:ext cx="829928" cy="829928"/>
            </a:xfrm>
            <a:prstGeom prst="arc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C985499B-BF3D-314C-B76F-4851CAF3AE39}"/>
              </a:ext>
            </a:extLst>
          </p:cNvPr>
          <p:cNvSpPr txBox="1"/>
          <p:nvPr/>
        </p:nvSpPr>
        <p:spPr>
          <a:xfrm rot="20788178">
            <a:off x="9057487" y="955559"/>
            <a:ext cx="811902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6600" b="1" dirty="0">
                <a:solidFill>
                  <a:schemeClr val="accent3">
                    <a:lumMod val="75000"/>
                  </a:schemeClr>
                </a:solidFill>
                <a:cs typeface="Aharoni" panose="02010803020104030203" pitchFamily="2" charset="-79"/>
              </a:rPr>
              <a:t>?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DB584444-3FDB-8049-B886-110FAE66C76E}"/>
              </a:ext>
            </a:extLst>
          </p:cNvPr>
          <p:cNvSpPr txBox="1"/>
          <p:nvPr/>
        </p:nvSpPr>
        <p:spPr>
          <a:xfrm>
            <a:off x="9463350" y="1201986"/>
            <a:ext cx="81190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800" b="1" dirty="0">
                <a:solidFill>
                  <a:schemeClr val="accent3">
                    <a:lumMod val="75000"/>
                  </a:schemeClr>
                </a:solidFill>
                <a:cs typeface="Aharoni" panose="02010803020104030203" pitchFamily="2" charset="-79"/>
              </a:rPr>
              <a:t>?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56258425-759C-284D-8F85-9DB70F7E5166}"/>
              </a:ext>
            </a:extLst>
          </p:cNvPr>
          <p:cNvSpPr txBox="1"/>
          <p:nvPr/>
        </p:nvSpPr>
        <p:spPr>
          <a:xfrm rot="20728161">
            <a:off x="9737935" y="947982"/>
            <a:ext cx="81190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800" b="1" dirty="0">
                <a:solidFill>
                  <a:schemeClr val="accent3">
                    <a:lumMod val="75000"/>
                  </a:schemeClr>
                </a:solidFill>
                <a:cs typeface="Aharoni" panose="02010803020104030203" pitchFamily="2" charset="-79"/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271463260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186041" y="204446"/>
            <a:ext cx="9013944" cy="1195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010961" hangingPunct="1">
              <a:lnSpc>
                <a:spcPts val="4300"/>
              </a:lnSpc>
              <a:defRPr/>
            </a:pPr>
            <a:r>
              <a:rPr lang="ru-RU" sz="40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М МОЖЕТ ПРЕДСТАВИТЬСЯ МОШЕННИК</a:t>
            </a:r>
            <a:r>
              <a:rPr lang="ru-RU" sz="40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?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3711589" y="993276"/>
            <a:ext cx="6789279" cy="79714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 defTabSz="1010961" hangingPunct="1">
              <a:spcBef>
                <a:spcPts val="900"/>
              </a:spcBef>
              <a:spcAft>
                <a:spcPts val="900"/>
              </a:spcAft>
            </a:pPr>
            <a:r>
              <a:rPr lang="ru-RU" sz="28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отрудником социальных служб, </a:t>
            </a:r>
            <a:r>
              <a:rPr lang="ru-RU" sz="28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лагающим</a:t>
            </a:r>
            <a:r>
              <a:rPr lang="ru-RU" sz="28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компенсации</a:t>
            </a:r>
          </a:p>
          <a:p>
            <a:pPr lvl="0" algn="l" defTabSz="1010961" hangingPunct="1">
              <a:spcBef>
                <a:spcPts val="900"/>
              </a:spcBef>
              <a:spcAft>
                <a:spcPts val="900"/>
              </a:spcAft>
            </a:pPr>
            <a:endParaRPr lang="ru-RU" sz="1200" kern="12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lvl="0" algn="l" defTabSz="1010961" hangingPunct="1">
              <a:spcBef>
                <a:spcPts val="900"/>
              </a:spcBef>
              <a:spcAft>
                <a:spcPts val="900"/>
              </a:spcAft>
            </a:pPr>
            <a:r>
              <a:rPr lang="ru-RU" sz="12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/>
            </a:r>
            <a:br>
              <a:rPr lang="ru-RU" sz="12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ru-RU" sz="28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отрудником</a:t>
            </a:r>
            <a:r>
              <a:rPr lang="en-US" sz="28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sz="28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олиции/прокуратуры/иных </a:t>
            </a:r>
            <a:r>
              <a:rPr lang="ru-RU" sz="28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рганизаций, рассказывающим                  о мошенничестве, </a:t>
            </a:r>
            <a:r>
              <a:rPr lang="ru-RU" sz="28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годном вложении денег, </a:t>
            </a:r>
            <a:r>
              <a:rPr lang="ru-RU" sz="28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рокерских или дилерских услугах</a:t>
            </a:r>
          </a:p>
          <a:p>
            <a:pPr algn="l" defTabSz="1010961" hangingPunct="1">
              <a:spcBef>
                <a:spcPts val="900"/>
              </a:spcBef>
              <a:spcAft>
                <a:spcPts val="900"/>
              </a:spcAft>
            </a:pPr>
            <a:endParaRPr lang="ru-RU" sz="600" kern="12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algn="l" defTabSz="1010961" hangingPunct="1">
              <a:spcBef>
                <a:spcPts val="900"/>
              </a:spcBef>
              <a:spcAft>
                <a:spcPts val="900"/>
              </a:spcAft>
            </a:pPr>
            <a:r>
              <a:rPr lang="ru-RU" sz="28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окупателем Вашего товара с сайта, </a:t>
            </a:r>
            <a:r>
              <a:rPr lang="ru-RU" sz="28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манивающим данные карты              и пароли из СМС, под предлогом перевода</a:t>
            </a:r>
            <a:r>
              <a:rPr lang="ru-RU" sz="28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Вам аванса</a:t>
            </a:r>
          </a:p>
          <a:p>
            <a:pPr lvl="0" algn="l" defTabSz="1010961" hangingPunct="1">
              <a:spcBef>
                <a:spcPts val="900"/>
              </a:spcBef>
              <a:spcAft>
                <a:spcPts val="900"/>
              </a:spcAft>
            </a:pPr>
            <a:endParaRPr lang="ru-RU" sz="2800" kern="12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lvl="0" algn="l" defTabSz="1010961" hangingPunct="1">
              <a:spcBef>
                <a:spcPts val="900"/>
              </a:spcBef>
              <a:spcAft>
                <a:spcPts val="900"/>
              </a:spcAft>
            </a:pPr>
            <a:endParaRPr lang="ru-RU" sz="2800" kern="12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F129C705-24F7-5C42-83A1-A6218230A77C}"/>
              </a:ext>
            </a:extLst>
          </p:cNvPr>
          <p:cNvGrpSpPr/>
          <p:nvPr/>
        </p:nvGrpSpPr>
        <p:grpSpPr>
          <a:xfrm>
            <a:off x="2648552" y="1326090"/>
            <a:ext cx="609542" cy="1015663"/>
            <a:chOff x="295275" y="1558700"/>
            <a:chExt cx="965290" cy="1608436"/>
          </a:xfrm>
        </p:grpSpPr>
        <p:sp>
          <p:nvSpPr>
            <p:cNvPr id="11" name="Овал 10">
              <a:extLst>
                <a:ext uri="{FF2B5EF4-FFF2-40B4-BE49-F238E27FC236}">
                  <a16:creationId xmlns:a16="http://schemas.microsoft.com/office/drawing/2014/main" id="{D2799F84-1A03-494D-A377-317CEF597A25}"/>
                </a:ext>
              </a:extLst>
            </p:cNvPr>
            <p:cNvSpPr/>
            <p:nvPr/>
          </p:nvSpPr>
          <p:spPr>
            <a:xfrm>
              <a:off x="295275" y="1911926"/>
              <a:ext cx="965290" cy="965290"/>
            </a:xfrm>
            <a:prstGeom prst="ellipse">
              <a:avLst/>
            </a:prstGeom>
            <a:solidFill>
              <a:srgbClr val="EE8137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15440" tIns="57720" rIns="115440" bIns="57720" rtlCol="0" anchor="t"/>
            <a:lstStyle/>
            <a:p>
              <a:pPr defTabSz="1153952" hangingPunct="1"/>
              <a:endParaRPr lang="ru-RU" sz="4400" kern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BFA73C36-FEDB-1745-B1C5-AA813E9A3B5B}"/>
                </a:ext>
              </a:extLst>
            </p:cNvPr>
            <p:cNvSpPr txBox="1"/>
            <p:nvPr/>
          </p:nvSpPr>
          <p:spPr>
            <a:xfrm>
              <a:off x="461737" y="1558700"/>
              <a:ext cx="699721" cy="160843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 defTabSz="1010961" hangingPunct="1"/>
              <a:r>
                <a:rPr lang="ru-RU" sz="6000" kern="1200" dirty="0">
                  <a:solidFill>
                    <a:prstClr val="white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!</a:t>
              </a:r>
            </a:p>
          </p:txBody>
        </p:sp>
      </p:grpSp>
      <p:grpSp>
        <p:nvGrpSpPr>
          <p:cNvPr id="29" name="Группа 28">
            <a:extLst>
              <a:ext uri="{FF2B5EF4-FFF2-40B4-BE49-F238E27FC236}">
                <a16:creationId xmlns:a16="http://schemas.microsoft.com/office/drawing/2014/main" id="{1A6F7611-838E-0F47-8A4D-7E58560391B1}"/>
              </a:ext>
            </a:extLst>
          </p:cNvPr>
          <p:cNvGrpSpPr/>
          <p:nvPr/>
        </p:nvGrpSpPr>
        <p:grpSpPr>
          <a:xfrm>
            <a:off x="2664631" y="3497227"/>
            <a:ext cx="609542" cy="1015663"/>
            <a:chOff x="295275" y="1580284"/>
            <a:chExt cx="965290" cy="1608436"/>
          </a:xfrm>
        </p:grpSpPr>
        <p:sp>
          <p:nvSpPr>
            <p:cNvPr id="30" name="Овал 29">
              <a:extLst>
                <a:ext uri="{FF2B5EF4-FFF2-40B4-BE49-F238E27FC236}">
                  <a16:creationId xmlns:a16="http://schemas.microsoft.com/office/drawing/2014/main" id="{90A15FB0-A077-1749-BF5A-C951A62C6BDB}"/>
                </a:ext>
              </a:extLst>
            </p:cNvPr>
            <p:cNvSpPr/>
            <p:nvPr/>
          </p:nvSpPr>
          <p:spPr>
            <a:xfrm>
              <a:off x="295275" y="1911926"/>
              <a:ext cx="965290" cy="965290"/>
            </a:xfrm>
            <a:prstGeom prst="ellipse">
              <a:avLst/>
            </a:prstGeom>
            <a:solidFill>
              <a:srgbClr val="EE8137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15440" tIns="57720" rIns="115440" bIns="57720" rtlCol="0" anchor="t"/>
            <a:lstStyle/>
            <a:p>
              <a:pPr defTabSz="1153952" hangingPunct="1"/>
              <a:endParaRPr lang="ru-RU" sz="4400" kern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06993501-F484-BB40-9298-6B995DB05858}"/>
                </a:ext>
              </a:extLst>
            </p:cNvPr>
            <p:cNvSpPr txBox="1"/>
            <p:nvPr/>
          </p:nvSpPr>
          <p:spPr>
            <a:xfrm>
              <a:off x="453523" y="1580284"/>
              <a:ext cx="699721" cy="160843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 defTabSz="1010961" hangingPunct="1"/>
              <a:r>
                <a:rPr lang="ru-RU" sz="6000" kern="1200" dirty="0">
                  <a:solidFill>
                    <a:prstClr val="white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!</a:t>
              </a:r>
            </a:p>
          </p:txBody>
        </p:sp>
      </p:grpSp>
      <p:grpSp>
        <p:nvGrpSpPr>
          <p:cNvPr id="36" name="Группа 35">
            <a:extLst>
              <a:ext uri="{FF2B5EF4-FFF2-40B4-BE49-F238E27FC236}">
                <a16:creationId xmlns:a16="http://schemas.microsoft.com/office/drawing/2014/main" id="{652DF80C-8F01-914C-9D73-D9A8936ABAC8}"/>
              </a:ext>
            </a:extLst>
          </p:cNvPr>
          <p:cNvGrpSpPr/>
          <p:nvPr/>
        </p:nvGrpSpPr>
        <p:grpSpPr>
          <a:xfrm>
            <a:off x="2648552" y="6050222"/>
            <a:ext cx="609542" cy="1015663"/>
            <a:chOff x="295275" y="1597123"/>
            <a:chExt cx="965290" cy="1608436"/>
          </a:xfrm>
        </p:grpSpPr>
        <p:sp>
          <p:nvSpPr>
            <p:cNvPr id="37" name="Овал 36">
              <a:extLst>
                <a:ext uri="{FF2B5EF4-FFF2-40B4-BE49-F238E27FC236}">
                  <a16:creationId xmlns:a16="http://schemas.microsoft.com/office/drawing/2014/main" id="{B1F9EE3D-ECA7-B44C-B7FD-D354A802633C}"/>
                </a:ext>
              </a:extLst>
            </p:cNvPr>
            <p:cNvSpPr/>
            <p:nvPr/>
          </p:nvSpPr>
          <p:spPr>
            <a:xfrm>
              <a:off x="295275" y="1911926"/>
              <a:ext cx="965290" cy="965290"/>
            </a:xfrm>
            <a:prstGeom prst="ellipse">
              <a:avLst/>
            </a:prstGeom>
            <a:solidFill>
              <a:srgbClr val="EE8137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15440" tIns="57720" rIns="115440" bIns="57720" rtlCol="0" anchor="t"/>
            <a:lstStyle/>
            <a:p>
              <a:pPr defTabSz="1153952" hangingPunct="1"/>
              <a:endParaRPr lang="ru-RU" sz="4400" kern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52C29994-2B41-3545-800D-C1E29B412DAA}"/>
                </a:ext>
              </a:extLst>
            </p:cNvPr>
            <p:cNvSpPr txBox="1"/>
            <p:nvPr/>
          </p:nvSpPr>
          <p:spPr>
            <a:xfrm>
              <a:off x="453523" y="1597123"/>
              <a:ext cx="699721" cy="160843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 defTabSz="1010961" hangingPunct="1"/>
              <a:r>
                <a:rPr lang="ru-RU" sz="6000" kern="1200" dirty="0">
                  <a:solidFill>
                    <a:prstClr val="white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!</a:t>
              </a:r>
            </a:p>
          </p:txBody>
        </p:sp>
      </p:grp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2BC32A69-FF7A-AD4B-A2C7-AC0B9DF72624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247" t="1018" r="1631" b="12667"/>
          <a:stretch/>
        </p:blipFill>
        <p:spPr>
          <a:xfrm flipH="1">
            <a:off x="-1" y="2774284"/>
            <a:ext cx="2633715" cy="4807616"/>
          </a:xfrm>
          <a:prstGeom prst="rect">
            <a:avLst/>
          </a:prstGeom>
        </p:spPr>
      </p:pic>
      <p:grpSp>
        <p:nvGrpSpPr>
          <p:cNvPr id="17" name="Группа 16">
            <a:extLst>
              <a:ext uri="{FF2B5EF4-FFF2-40B4-BE49-F238E27FC236}">
                <a16:creationId xmlns:a16="http://schemas.microsoft.com/office/drawing/2014/main" id="{BFE7324C-4234-D044-A7FB-8CEF1243F12F}"/>
              </a:ext>
            </a:extLst>
          </p:cNvPr>
          <p:cNvGrpSpPr/>
          <p:nvPr/>
        </p:nvGrpSpPr>
        <p:grpSpPr>
          <a:xfrm flipH="1">
            <a:off x="9251484" y="2180784"/>
            <a:ext cx="4462956" cy="5401116"/>
            <a:chOff x="-258334" y="2180784"/>
            <a:chExt cx="4462956" cy="5401116"/>
          </a:xfrm>
        </p:grpSpPr>
        <p:pic>
          <p:nvPicPr>
            <p:cNvPr id="18" name="Рисунок 17" descr="Изображение выглядит как желтый, фотография&#10;&#10;Автоматически созданное описание">
              <a:extLst>
                <a:ext uri="{FF2B5EF4-FFF2-40B4-BE49-F238E27FC236}">
                  <a16:creationId xmlns:a16="http://schemas.microsoft.com/office/drawing/2014/main" id="{743E008C-54DD-7B42-9F04-CBE73A703D1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2847898" flipH="1">
              <a:off x="491063" y="4645760"/>
              <a:ext cx="1752600" cy="990600"/>
            </a:xfrm>
            <a:prstGeom prst="rect">
              <a:avLst/>
            </a:prstGeom>
          </p:spPr>
        </p:pic>
        <p:pic>
          <p:nvPicPr>
            <p:cNvPr id="19" name="Рисунок 18">
              <a:extLst>
                <a:ext uri="{FF2B5EF4-FFF2-40B4-BE49-F238E27FC236}">
                  <a16:creationId xmlns:a16="http://schemas.microsoft.com/office/drawing/2014/main" id="{D01C94F8-9800-8A47-87F7-52BF555C1E3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5851" t="-6503" r="-10604" b="58178"/>
            <a:stretch/>
          </p:blipFill>
          <p:spPr>
            <a:xfrm>
              <a:off x="756569" y="3343763"/>
              <a:ext cx="3448053" cy="4238137"/>
            </a:xfrm>
            <a:prstGeom prst="rect">
              <a:avLst/>
            </a:prstGeom>
          </p:spPr>
        </p:pic>
        <p:pic>
          <p:nvPicPr>
            <p:cNvPr id="20" name="Рисунок 19">
              <a:extLst>
                <a:ext uri="{FF2B5EF4-FFF2-40B4-BE49-F238E27FC236}">
                  <a16:creationId xmlns:a16="http://schemas.microsoft.com/office/drawing/2014/main" id="{1011A89D-A2E9-0A4E-BDB8-70C5AE0C13C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725136">
              <a:off x="-258334" y="2180784"/>
              <a:ext cx="3794643" cy="45466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0566289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7D076ACA-B6B2-C04F-A2F7-48B4E92AFAC2}"/>
              </a:ext>
            </a:extLst>
          </p:cNvPr>
          <p:cNvSpPr/>
          <p:nvPr/>
        </p:nvSpPr>
        <p:spPr>
          <a:xfrm>
            <a:off x="6351054" y="935708"/>
            <a:ext cx="6666059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l" fontAlgn="base">
              <a:buClr>
                <a:schemeClr val="bg1"/>
              </a:buClr>
            </a:pPr>
            <a:r>
              <a:rPr lang="ru-RU" sz="4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тарайтесь успокоиться </a:t>
            </a:r>
            <a:br>
              <a:rPr lang="ru-RU" sz="4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4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не принимать решений сразу</a:t>
            </a:r>
            <a:endParaRPr lang="en-US" sz="40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1FD78C9C-0992-3448-BE69-4CBF657D3B61}"/>
              </a:ext>
            </a:extLst>
          </p:cNvPr>
          <p:cNvSpPr/>
          <p:nvPr/>
        </p:nvSpPr>
        <p:spPr>
          <a:xfrm>
            <a:off x="3557685" y="-693709"/>
            <a:ext cx="2752677" cy="563231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6000" b="1" dirty="0">
                <a:solidFill>
                  <a:schemeClr val="bg1">
                    <a:alpha val="3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ru-RU" sz="36000" b="1" dirty="0">
              <a:solidFill>
                <a:schemeClr val="bg1">
                  <a:alpha val="30000"/>
                </a:schemeClr>
              </a:solidFill>
            </a:endParaRPr>
          </a:p>
        </p:txBody>
      </p:sp>
      <p:sp>
        <p:nvSpPr>
          <p:cNvPr id="2" name="Заголовок 4">
            <a:extLst>
              <a:ext uri="{FF2B5EF4-FFF2-40B4-BE49-F238E27FC236}">
                <a16:creationId xmlns:a16="http://schemas.microsoft.com/office/drawing/2014/main" id="{A37C253A-2FE1-EA4E-8054-862DB1A012DF}"/>
              </a:ext>
            </a:extLst>
          </p:cNvPr>
          <p:cNvSpPr txBox="1">
            <a:spLocks/>
          </p:cNvSpPr>
          <p:nvPr/>
        </p:nvSpPr>
        <p:spPr>
          <a:xfrm>
            <a:off x="262424" y="3597233"/>
            <a:ext cx="5604426" cy="203041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4200"/>
              </a:lnSpc>
            </a:pPr>
            <a:r>
              <a:rPr lang="ru-RU" sz="4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ТОДЫ </a:t>
            </a:r>
            <a:br>
              <a:rPr lang="ru-RU" sz="4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4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ТИВОДЕЙСТВИЯ СОЦИАЛЬНОЙ </a:t>
            </a:r>
            <a:br>
              <a:rPr lang="ru-RU" sz="4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4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ЖЕНЕРИИ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83E5AF64-32A4-5C4B-8C72-0B3F242EF58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98454" y="2771928"/>
            <a:ext cx="4472946" cy="4486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727818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6BDF1E6C-2361-DA43-BA59-EB139DB924A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9084"/>
          <a:stretch/>
        </p:blipFill>
        <p:spPr>
          <a:xfrm flipH="1">
            <a:off x="8432032" y="4493605"/>
            <a:ext cx="4055270" cy="2622578"/>
          </a:xfrm>
          <a:prstGeom prst="rect">
            <a:avLst/>
          </a:prstGeom>
        </p:spPr>
      </p:pic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82F813DE-1C1F-6645-A007-C4C7F7419939}"/>
              </a:ext>
            </a:extLst>
          </p:cNvPr>
          <p:cNvSpPr/>
          <p:nvPr/>
        </p:nvSpPr>
        <p:spPr>
          <a:xfrm>
            <a:off x="6187548" y="819075"/>
            <a:ext cx="7243533" cy="3416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fontAlgn="base">
              <a:buClr>
                <a:schemeClr val="bg1"/>
              </a:buClr>
            </a:pPr>
            <a:r>
              <a:rPr lang="ru-RU" sz="3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мните </a:t>
            </a:r>
            <a:r>
              <a:rPr lang="ru-RU" sz="3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– </a:t>
            </a:r>
            <a:r>
              <a:rPr lang="ru-RU" sz="3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ботники банка никогда не запрашивают</a:t>
            </a:r>
          </a:p>
          <a:p>
            <a:pPr marL="317500" indent="-317500" algn="l" fontAlgn="base">
              <a:buClr>
                <a:schemeClr val="tx1">
                  <a:lumMod val="65000"/>
                  <a:lumOff val="35000"/>
                </a:schemeClr>
              </a:buClr>
              <a:buFont typeface="Arial" panose="020B0604020202020204" pitchFamily="34" charset="0"/>
              <a:buChar char="•"/>
            </a:pPr>
            <a:r>
              <a:rPr lang="ru-RU" sz="3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ИН-код или код безопасности</a:t>
            </a:r>
          </a:p>
          <a:p>
            <a:pPr marL="317500" indent="-317500" algn="l" fontAlgn="base">
              <a:buClr>
                <a:schemeClr val="tx1">
                  <a:lumMod val="65000"/>
                  <a:lumOff val="35000"/>
                </a:schemeClr>
              </a:buClr>
              <a:buFont typeface="Arial" panose="020B0604020202020204" pitchFamily="34" charset="0"/>
              <a:buChar char="•"/>
            </a:pPr>
            <a:r>
              <a:rPr lang="ru-RU" sz="3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огин и пароль от Сбербанк Онлайн</a:t>
            </a:r>
          </a:p>
          <a:p>
            <a:pPr marL="317500" indent="-317500" algn="l" fontAlgn="base">
              <a:buClr>
                <a:schemeClr val="tx1">
                  <a:lumMod val="65000"/>
                  <a:lumOff val="35000"/>
                </a:schemeClr>
              </a:buClr>
              <a:buFont typeface="Arial" panose="020B0604020202020204" pitchFamily="34" charset="0"/>
              <a:buChar char="•"/>
            </a:pPr>
            <a:r>
              <a:rPr lang="ru-RU" sz="3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роль из СМС 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76826429-77B7-7647-A9FF-496E395BC19C}"/>
              </a:ext>
            </a:extLst>
          </p:cNvPr>
          <p:cNvSpPr/>
          <p:nvPr/>
        </p:nvSpPr>
        <p:spPr>
          <a:xfrm>
            <a:off x="3334397" y="-693709"/>
            <a:ext cx="2752677" cy="563231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6000" b="1" dirty="0">
                <a:solidFill>
                  <a:schemeClr val="bg1">
                    <a:alpha val="3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ru-RU" sz="36000" b="1" dirty="0">
              <a:solidFill>
                <a:schemeClr val="bg1">
                  <a:alpha val="30000"/>
                </a:schemeClr>
              </a:solidFill>
            </a:endParaRPr>
          </a:p>
        </p:txBody>
      </p:sp>
      <p:sp>
        <p:nvSpPr>
          <p:cNvPr id="12" name="Заголовок 4">
            <a:extLst>
              <a:ext uri="{FF2B5EF4-FFF2-40B4-BE49-F238E27FC236}">
                <a16:creationId xmlns:a16="http://schemas.microsoft.com/office/drawing/2014/main" id="{4BA1BDB4-AA08-494F-A0B8-0A98944531F9}"/>
              </a:ext>
            </a:extLst>
          </p:cNvPr>
          <p:cNvSpPr txBox="1">
            <a:spLocks/>
          </p:cNvSpPr>
          <p:nvPr/>
        </p:nvSpPr>
        <p:spPr>
          <a:xfrm>
            <a:off x="262424" y="3597233"/>
            <a:ext cx="5604426" cy="203041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4200"/>
              </a:lnSpc>
            </a:pPr>
            <a:r>
              <a:rPr lang="ru-RU" sz="4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ТОДЫ </a:t>
            </a:r>
            <a:br>
              <a:rPr lang="ru-RU" sz="4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4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ТИВОДЕЙСТВИЯ СОЦИАЛЬНОЙ </a:t>
            </a:r>
            <a:br>
              <a:rPr lang="ru-RU" sz="4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4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ЖЕНЕРИИ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BD4E18C-B535-0C4B-874D-9A8165E91104}"/>
              </a:ext>
            </a:extLst>
          </p:cNvPr>
          <p:cNvSpPr txBox="1"/>
          <p:nvPr/>
        </p:nvSpPr>
        <p:spPr>
          <a:xfrm rot="20788178">
            <a:off x="9315877" y="4276883"/>
            <a:ext cx="81190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0" b="1" dirty="0">
                <a:solidFill>
                  <a:srgbClr val="EE8137"/>
                </a:solidFill>
                <a:cs typeface="Aharoni" panose="02010803020104030203" pitchFamily="2" charset="-79"/>
              </a:rPr>
              <a:t>?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EDE0E1F-FCDB-9344-9497-1BB3CF365FF4}"/>
              </a:ext>
            </a:extLst>
          </p:cNvPr>
          <p:cNvSpPr txBox="1"/>
          <p:nvPr/>
        </p:nvSpPr>
        <p:spPr>
          <a:xfrm>
            <a:off x="9696241" y="4650930"/>
            <a:ext cx="81190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6000" b="1" dirty="0">
                <a:solidFill>
                  <a:srgbClr val="EE8137"/>
                </a:solidFill>
                <a:cs typeface="Aharoni" panose="02010803020104030203" pitchFamily="2" charset="-79"/>
              </a:rPr>
              <a:t>?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4B4B1DF-17C2-B048-A6B2-0C95308B2F2A}"/>
              </a:ext>
            </a:extLst>
          </p:cNvPr>
          <p:cNvSpPr txBox="1"/>
          <p:nvPr/>
        </p:nvSpPr>
        <p:spPr>
          <a:xfrm rot="20728161">
            <a:off x="9866675" y="4323958"/>
            <a:ext cx="81190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800" b="1" dirty="0">
                <a:solidFill>
                  <a:srgbClr val="EE8137"/>
                </a:solidFill>
                <a:cs typeface="Aharoni" panose="02010803020104030203" pitchFamily="2" charset="-79"/>
              </a:rPr>
              <a:t>?</a:t>
            </a:r>
          </a:p>
        </p:txBody>
      </p:sp>
      <p:cxnSp>
        <p:nvCxnSpPr>
          <p:cNvPr id="19" name="Прямая соединительная линия 18">
            <a:extLst>
              <a:ext uri="{FF2B5EF4-FFF2-40B4-BE49-F238E27FC236}">
                <a16:creationId xmlns:a16="http://schemas.microsoft.com/office/drawing/2014/main" id="{A0FFE717-B75D-A440-AEE4-775B49170EFF}"/>
              </a:ext>
            </a:extLst>
          </p:cNvPr>
          <p:cNvCxnSpPr/>
          <p:nvPr/>
        </p:nvCxnSpPr>
        <p:spPr>
          <a:xfrm flipH="1">
            <a:off x="6311899" y="7108132"/>
            <a:ext cx="61595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501577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05F14ABA-A3D4-3642-97F6-56D52B9A5623}"/>
              </a:ext>
            </a:extLst>
          </p:cNvPr>
          <p:cNvSpPr/>
          <p:nvPr/>
        </p:nvSpPr>
        <p:spPr>
          <a:xfrm>
            <a:off x="6228813" y="997530"/>
            <a:ext cx="7250650" cy="21236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l" fontAlgn="base">
              <a:buClr>
                <a:schemeClr val="bg1"/>
              </a:buClr>
            </a:pPr>
            <a:r>
              <a:rPr lang="ru-RU" sz="4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 совершайте какие-либо операции с картой </a:t>
            </a:r>
            <a:br>
              <a:rPr lang="ru-RU" sz="4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4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инструкциям звонящего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FD7FFA1F-F1E5-A448-87A3-9DEE222BC10A}"/>
              </a:ext>
            </a:extLst>
          </p:cNvPr>
          <p:cNvSpPr/>
          <p:nvPr/>
        </p:nvSpPr>
        <p:spPr>
          <a:xfrm>
            <a:off x="3249333" y="-693709"/>
            <a:ext cx="2752677" cy="563231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6000" b="1" dirty="0">
                <a:solidFill>
                  <a:schemeClr val="bg1">
                    <a:alpha val="3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ru-RU" sz="36000" b="1" dirty="0">
              <a:solidFill>
                <a:schemeClr val="bg1">
                  <a:alpha val="30000"/>
                </a:schemeClr>
              </a:solidFill>
            </a:endParaRPr>
          </a:p>
        </p:txBody>
      </p:sp>
      <p:sp>
        <p:nvSpPr>
          <p:cNvPr id="11" name="Заголовок 4">
            <a:extLst>
              <a:ext uri="{FF2B5EF4-FFF2-40B4-BE49-F238E27FC236}">
                <a16:creationId xmlns:a16="http://schemas.microsoft.com/office/drawing/2014/main" id="{E0002D81-BBAA-BC4E-B430-6D07A5D94DE1}"/>
              </a:ext>
            </a:extLst>
          </p:cNvPr>
          <p:cNvSpPr txBox="1">
            <a:spLocks/>
          </p:cNvSpPr>
          <p:nvPr/>
        </p:nvSpPr>
        <p:spPr>
          <a:xfrm>
            <a:off x="262424" y="3597233"/>
            <a:ext cx="5604426" cy="203041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4200"/>
              </a:lnSpc>
            </a:pPr>
            <a:r>
              <a:rPr lang="ru-RU" sz="4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ТОДЫ </a:t>
            </a:r>
            <a:br>
              <a:rPr lang="ru-RU" sz="4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4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ТИВОДЕЙСТВИЯ СОЦИАЛЬНОЙ </a:t>
            </a:r>
            <a:br>
              <a:rPr lang="ru-RU" sz="4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4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ЖЕНЕРИИ</a:t>
            </a:r>
          </a:p>
        </p:txBody>
      </p:sp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46D5CE72-016D-B543-A603-47DB34C772FB}"/>
              </a:ext>
            </a:extLst>
          </p:cNvPr>
          <p:cNvCxnSpPr/>
          <p:nvPr/>
        </p:nvCxnSpPr>
        <p:spPr>
          <a:xfrm flipH="1">
            <a:off x="6311899" y="7108132"/>
            <a:ext cx="61595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84E6E0D5-2FA6-4A45-B2E0-4DBFD042278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8824967" y="3356482"/>
            <a:ext cx="2872881" cy="1756991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EBD7C9E-5F6A-2441-A4EB-38F8955F13EB}"/>
              </a:ext>
            </a:extLst>
          </p:cNvPr>
          <p:cNvSpPr txBox="1"/>
          <p:nvPr/>
        </p:nvSpPr>
        <p:spPr>
          <a:xfrm>
            <a:off x="8953068" y="3597233"/>
            <a:ext cx="255412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/>
              <a:t>Продиктуйте пароль из смс…</a:t>
            </a:r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12DF9478-BC0D-A34C-A825-8FE3B216C23D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9742"/>
          <a:stretch/>
        </p:blipFill>
        <p:spPr>
          <a:xfrm>
            <a:off x="6311899" y="4513886"/>
            <a:ext cx="4055270" cy="2594246"/>
          </a:xfrm>
          <a:prstGeom prst="rect">
            <a:avLst/>
          </a:prstGeom>
        </p:spPr>
      </p:pic>
      <p:pic>
        <p:nvPicPr>
          <p:cNvPr id="12" name="Развод_карта_короткая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-40000" contrast="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1658599" y="5063867"/>
            <a:ext cx="812800" cy="81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83613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1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5089" fill="hold"/>
                                        <p:tgtEl>
                                          <p:spTgt spid="1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2"/>
                  </p:tgtEl>
                </p:cond>
              </p:nextCondLst>
            </p:seq>
            <p:audio>
              <p:cMediaNode vol="8000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2"/>
                </p:tgtEl>
              </p:cMediaNode>
            </p:audio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6BDF1E6C-2361-DA43-BA59-EB139DB924A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9084"/>
          <a:stretch/>
        </p:blipFill>
        <p:spPr>
          <a:xfrm flipH="1">
            <a:off x="8432032" y="4493605"/>
            <a:ext cx="4055270" cy="2622578"/>
          </a:xfrm>
          <a:prstGeom prst="rect">
            <a:avLst/>
          </a:prstGeom>
        </p:spPr>
      </p:pic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82F813DE-1C1F-6645-A007-C4C7F7419939}"/>
              </a:ext>
            </a:extLst>
          </p:cNvPr>
          <p:cNvSpPr/>
          <p:nvPr/>
        </p:nvSpPr>
        <p:spPr>
          <a:xfrm>
            <a:off x="6187548" y="819075"/>
            <a:ext cx="7243533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fontAlgn="base">
              <a:buClr>
                <a:schemeClr val="bg1"/>
              </a:buClr>
            </a:pPr>
            <a:r>
              <a:rPr lang="ru-RU" sz="3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ложите трубку и перезвоните сами по </a:t>
            </a:r>
            <a:r>
              <a:rPr lang="ru-RU" sz="3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фициальному номеру организации 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76826429-77B7-7647-A9FF-496E395BC19C}"/>
              </a:ext>
            </a:extLst>
          </p:cNvPr>
          <p:cNvSpPr/>
          <p:nvPr/>
        </p:nvSpPr>
        <p:spPr>
          <a:xfrm>
            <a:off x="3334398" y="-693709"/>
            <a:ext cx="2752677" cy="563231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6000" b="1" dirty="0">
                <a:solidFill>
                  <a:schemeClr val="bg1">
                    <a:alpha val="3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ru-RU" sz="36000" b="1" dirty="0">
              <a:solidFill>
                <a:schemeClr val="bg1">
                  <a:alpha val="30000"/>
                </a:schemeClr>
              </a:solidFill>
            </a:endParaRPr>
          </a:p>
        </p:txBody>
      </p:sp>
      <p:sp>
        <p:nvSpPr>
          <p:cNvPr id="12" name="Заголовок 4">
            <a:extLst>
              <a:ext uri="{FF2B5EF4-FFF2-40B4-BE49-F238E27FC236}">
                <a16:creationId xmlns:a16="http://schemas.microsoft.com/office/drawing/2014/main" id="{4BA1BDB4-AA08-494F-A0B8-0A98944531F9}"/>
              </a:ext>
            </a:extLst>
          </p:cNvPr>
          <p:cNvSpPr txBox="1">
            <a:spLocks/>
          </p:cNvSpPr>
          <p:nvPr/>
        </p:nvSpPr>
        <p:spPr>
          <a:xfrm>
            <a:off x="262424" y="3597233"/>
            <a:ext cx="5604426" cy="203041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4200"/>
              </a:lnSpc>
            </a:pPr>
            <a:r>
              <a:rPr lang="ru-RU" sz="4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ТОДЫ </a:t>
            </a:r>
            <a:br>
              <a:rPr lang="ru-RU" sz="4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4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ТИВОДЕЙСТВИЯ СОЦИАЛЬНОЙ </a:t>
            </a:r>
            <a:br>
              <a:rPr lang="ru-RU" sz="4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4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ЖЕНЕРИИ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BD4E18C-B535-0C4B-874D-9A8165E91104}"/>
              </a:ext>
            </a:extLst>
          </p:cNvPr>
          <p:cNvSpPr txBox="1"/>
          <p:nvPr/>
        </p:nvSpPr>
        <p:spPr>
          <a:xfrm rot="20788178">
            <a:off x="9315877" y="4276883"/>
            <a:ext cx="81190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0" b="1" dirty="0">
                <a:solidFill>
                  <a:srgbClr val="EE8137"/>
                </a:solidFill>
                <a:cs typeface="Aharoni" panose="02010803020104030203" pitchFamily="2" charset="-79"/>
              </a:rPr>
              <a:t>?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EDE0E1F-FCDB-9344-9497-1BB3CF365FF4}"/>
              </a:ext>
            </a:extLst>
          </p:cNvPr>
          <p:cNvSpPr txBox="1"/>
          <p:nvPr/>
        </p:nvSpPr>
        <p:spPr>
          <a:xfrm>
            <a:off x="9696241" y="4650930"/>
            <a:ext cx="81190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6000" b="1" dirty="0">
                <a:solidFill>
                  <a:srgbClr val="EE8137"/>
                </a:solidFill>
                <a:cs typeface="Aharoni" panose="02010803020104030203" pitchFamily="2" charset="-79"/>
              </a:rPr>
              <a:t>?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4B4B1DF-17C2-B048-A6B2-0C95308B2F2A}"/>
              </a:ext>
            </a:extLst>
          </p:cNvPr>
          <p:cNvSpPr txBox="1"/>
          <p:nvPr/>
        </p:nvSpPr>
        <p:spPr>
          <a:xfrm rot="20728161">
            <a:off x="9866675" y="4323958"/>
            <a:ext cx="81190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800" b="1" dirty="0">
                <a:solidFill>
                  <a:srgbClr val="EE8137"/>
                </a:solidFill>
                <a:cs typeface="Aharoni" panose="02010803020104030203" pitchFamily="2" charset="-79"/>
              </a:rPr>
              <a:t>?</a:t>
            </a:r>
          </a:p>
        </p:txBody>
      </p:sp>
      <p:cxnSp>
        <p:nvCxnSpPr>
          <p:cNvPr id="19" name="Прямая соединительная линия 18">
            <a:extLst>
              <a:ext uri="{FF2B5EF4-FFF2-40B4-BE49-F238E27FC236}">
                <a16:creationId xmlns:a16="http://schemas.microsoft.com/office/drawing/2014/main" id="{A0FFE717-B75D-A440-AEE4-775B49170EFF}"/>
              </a:ext>
            </a:extLst>
          </p:cNvPr>
          <p:cNvCxnSpPr/>
          <p:nvPr/>
        </p:nvCxnSpPr>
        <p:spPr>
          <a:xfrm flipH="1">
            <a:off x="6311899" y="7108132"/>
            <a:ext cx="61595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5854438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Rectangle 3">
            <a:extLst>
              <a:ext uri="{FF2B5EF4-FFF2-40B4-BE49-F238E27FC236}">
                <a16:creationId xmlns:a16="http://schemas.microsoft.com/office/drawing/2014/main" id="{37954A1A-2711-444D-B2F3-D851FB932269}"/>
              </a:ext>
            </a:extLst>
          </p:cNvPr>
          <p:cNvSpPr/>
          <p:nvPr/>
        </p:nvSpPr>
        <p:spPr>
          <a:xfrm>
            <a:off x="6397734" y="2727547"/>
            <a:ext cx="6698938" cy="4773568"/>
          </a:xfrm>
          <a:prstGeom prst="rect">
            <a:avLst/>
          </a:prstGeom>
          <a:solidFill>
            <a:schemeClr val="accent2">
              <a:lumMod val="60000"/>
              <a:lumOff val="4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75" dirty="0"/>
          </a:p>
        </p:txBody>
      </p:sp>
      <p:sp>
        <p:nvSpPr>
          <p:cNvPr id="53" name="Rectangle 3">
            <a:extLst>
              <a:ext uri="{FF2B5EF4-FFF2-40B4-BE49-F238E27FC236}">
                <a16:creationId xmlns:a16="http://schemas.microsoft.com/office/drawing/2014/main" id="{B6FD7F52-6139-C343-B5E3-30D451378131}"/>
              </a:ext>
            </a:extLst>
          </p:cNvPr>
          <p:cNvSpPr/>
          <p:nvPr/>
        </p:nvSpPr>
        <p:spPr>
          <a:xfrm>
            <a:off x="311823" y="2720687"/>
            <a:ext cx="5975962" cy="4780428"/>
          </a:xfrm>
          <a:prstGeom prst="rect">
            <a:avLst/>
          </a:prstGeom>
          <a:solidFill>
            <a:srgbClr val="92D050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75" dirty="0"/>
          </a:p>
        </p:txBody>
      </p:sp>
      <p:grpSp>
        <p:nvGrpSpPr>
          <p:cNvPr id="118" name="Группа 117">
            <a:extLst>
              <a:ext uri="{FF2B5EF4-FFF2-40B4-BE49-F238E27FC236}">
                <a16:creationId xmlns:a16="http://schemas.microsoft.com/office/drawing/2014/main" id="{4A782C2E-8875-6140-B3B8-B0579E5CFBBA}"/>
              </a:ext>
            </a:extLst>
          </p:cNvPr>
          <p:cNvGrpSpPr/>
          <p:nvPr/>
        </p:nvGrpSpPr>
        <p:grpSpPr>
          <a:xfrm rot="11490648">
            <a:off x="2373259" y="2504007"/>
            <a:ext cx="5070245" cy="4894301"/>
            <a:chOff x="1565369" y="2170380"/>
            <a:chExt cx="5070245" cy="4894301"/>
          </a:xfrm>
        </p:grpSpPr>
        <p:sp>
          <p:nvSpPr>
            <p:cNvPr id="119" name="Дуга 118">
              <a:extLst>
                <a:ext uri="{FF2B5EF4-FFF2-40B4-BE49-F238E27FC236}">
                  <a16:creationId xmlns:a16="http://schemas.microsoft.com/office/drawing/2014/main" id="{31D1A03E-F745-8840-A1D3-CAE57643942D}"/>
                </a:ext>
              </a:extLst>
            </p:cNvPr>
            <p:cNvSpPr/>
            <p:nvPr/>
          </p:nvSpPr>
          <p:spPr>
            <a:xfrm rot="3248944">
              <a:off x="2741990" y="2919437"/>
              <a:ext cx="3355759" cy="3476394"/>
            </a:xfrm>
            <a:prstGeom prst="arc">
              <a:avLst>
                <a:gd name="adj1" fmla="val 17090884"/>
                <a:gd name="adj2" fmla="val 20621167"/>
              </a:avLst>
            </a:prstGeom>
            <a:ln w="19050"/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20" name="Дуга 119">
              <a:extLst>
                <a:ext uri="{FF2B5EF4-FFF2-40B4-BE49-F238E27FC236}">
                  <a16:creationId xmlns:a16="http://schemas.microsoft.com/office/drawing/2014/main" id="{C288808B-6D91-7D42-A893-3C6B6A02D74E}"/>
                </a:ext>
              </a:extLst>
            </p:cNvPr>
            <p:cNvSpPr/>
            <p:nvPr/>
          </p:nvSpPr>
          <p:spPr>
            <a:xfrm rot="3280190">
              <a:off x="2235891" y="2550473"/>
              <a:ext cx="4073289" cy="4219718"/>
            </a:xfrm>
            <a:prstGeom prst="arc">
              <a:avLst>
                <a:gd name="adj1" fmla="val 17090884"/>
                <a:gd name="adj2" fmla="val 20621167"/>
              </a:avLst>
            </a:prstGeom>
            <a:ln w="19050"/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21" name="Дуга 120">
              <a:extLst>
                <a:ext uri="{FF2B5EF4-FFF2-40B4-BE49-F238E27FC236}">
                  <a16:creationId xmlns:a16="http://schemas.microsoft.com/office/drawing/2014/main" id="{FB280367-88F3-8B4B-AA85-27D90F80138E}"/>
                </a:ext>
              </a:extLst>
            </p:cNvPr>
            <p:cNvSpPr/>
            <p:nvPr/>
          </p:nvSpPr>
          <p:spPr>
            <a:xfrm rot="3339034">
              <a:off x="1653341" y="2082408"/>
              <a:ext cx="4894301" cy="5070245"/>
            </a:xfrm>
            <a:prstGeom prst="arc">
              <a:avLst>
                <a:gd name="adj1" fmla="val 17090884"/>
                <a:gd name="adj2" fmla="val 20621167"/>
              </a:avLst>
            </a:prstGeom>
            <a:ln w="19050"/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sp>
        <p:nvSpPr>
          <p:cNvPr id="44" name="Заголовок 1">
            <a:extLst>
              <a:ext uri="{FF2B5EF4-FFF2-40B4-BE49-F238E27FC236}">
                <a16:creationId xmlns:a16="http://schemas.microsoft.com/office/drawing/2014/main" id="{2FE31346-4C05-0A4F-B81F-E085E329F2A2}"/>
              </a:ext>
            </a:extLst>
          </p:cNvPr>
          <p:cNvSpPr txBox="1">
            <a:spLocks/>
          </p:cNvSpPr>
          <p:nvPr/>
        </p:nvSpPr>
        <p:spPr>
          <a:xfrm>
            <a:off x="311823" y="202426"/>
            <a:ext cx="10115314" cy="577974"/>
          </a:xfrm>
          <a:prstGeom prst="rect">
            <a:avLst/>
          </a:prstGeom>
          <a:noFill/>
        </p:spPr>
        <p:txBody>
          <a:bodyPr lIns="0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1010961">
              <a:lnSpc>
                <a:spcPts val="4300"/>
              </a:lnSpc>
              <a:spcBef>
                <a:spcPts val="0"/>
              </a:spcBef>
              <a:defRPr/>
            </a:pPr>
            <a:r>
              <a:rPr lang="ru-RU" sz="4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ЕТОДЫ ПРОТИВОДЕЙСТВИЯ</a:t>
            </a:r>
          </a:p>
        </p:txBody>
      </p:sp>
      <p:sp>
        <p:nvSpPr>
          <p:cNvPr id="74" name="Прямоугольник 73">
            <a:extLst>
              <a:ext uri="{FF2B5EF4-FFF2-40B4-BE49-F238E27FC236}">
                <a16:creationId xmlns:a16="http://schemas.microsoft.com/office/drawing/2014/main" id="{3077A06A-77C8-F34E-A729-D61EC31EB80E}"/>
              </a:ext>
            </a:extLst>
          </p:cNvPr>
          <p:cNvSpPr/>
          <p:nvPr/>
        </p:nvSpPr>
        <p:spPr>
          <a:xfrm>
            <a:off x="271226" y="860533"/>
            <a:ext cx="13002498" cy="15594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spcAft>
                <a:spcPts val="400"/>
              </a:spcAft>
            </a:pPr>
            <a:r>
              <a:rPr lang="ru-RU" sz="28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тобы отличить сотрудника Сбербанка, </a:t>
            </a:r>
            <a:br>
              <a:rPr lang="ru-RU" sz="28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8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пишите номера банка в телефонную книгу: </a:t>
            </a:r>
            <a:r>
              <a:rPr lang="ru-RU" sz="3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900</a:t>
            </a:r>
            <a:r>
              <a:rPr lang="ru-RU" sz="3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3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8800555-55-50</a:t>
            </a:r>
          </a:p>
          <a:p>
            <a:pPr algn="l"/>
            <a:r>
              <a:rPr lang="ru-RU" sz="2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ли звонок будет с другого номера, он отобразится как неизвестный</a:t>
            </a:r>
            <a:endParaRPr lang="ru-RU" sz="28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6" name="Группа 15">
            <a:extLst>
              <a:ext uri="{FF2B5EF4-FFF2-40B4-BE49-F238E27FC236}">
                <a16:creationId xmlns:a16="http://schemas.microsoft.com/office/drawing/2014/main" id="{9A06BB13-8F1E-2842-9386-1593C6FD096F}"/>
              </a:ext>
            </a:extLst>
          </p:cNvPr>
          <p:cNvGrpSpPr/>
          <p:nvPr/>
        </p:nvGrpSpPr>
        <p:grpSpPr>
          <a:xfrm>
            <a:off x="377560" y="2166517"/>
            <a:ext cx="5752484" cy="5277197"/>
            <a:chOff x="819808" y="2512419"/>
            <a:chExt cx="4588013" cy="4208938"/>
          </a:xfrm>
        </p:grpSpPr>
        <p:grpSp>
          <p:nvGrpSpPr>
            <p:cNvPr id="34" name="Группа 33">
              <a:extLst>
                <a:ext uri="{FF2B5EF4-FFF2-40B4-BE49-F238E27FC236}">
                  <a16:creationId xmlns:a16="http://schemas.microsoft.com/office/drawing/2014/main" id="{BA8CD436-81DF-6349-BF2A-4AA9CB8CB995}"/>
                </a:ext>
              </a:extLst>
            </p:cNvPr>
            <p:cNvGrpSpPr/>
            <p:nvPr/>
          </p:nvGrpSpPr>
          <p:grpSpPr>
            <a:xfrm rot="381311">
              <a:off x="1420460" y="2512419"/>
              <a:ext cx="3987361" cy="4184069"/>
              <a:chOff x="1565369" y="2170380"/>
              <a:chExt cx="5070245" cy="4894301"/>
            </a:xfrm>
          </p:grpSpPr>
          <p:sp>
            <p:nvSpPr>
              <p:cNvPr id="33" name="Дуга 32">
                <a:extLst>
                  <a:ext uri="{FF2B5EF4-FFF2-40B4-BE49-F238E27FC236}">
                    <a16:creationId xmlns:a16="http://schemas.microsoft.com/office/drawing/2014/main" id="{4C43FCD5-280C-E448-A548-9DEA46864035}"/>
                  </a:ext>
                </a:extLst>
              </p:cNvPr>
              <p:cNvSpPr/>
              <p:nvPr/>
            </p:nvSpPr>
            <p:spPr>
              <a:xfrm rot="3248944">
                <a:off x="2741990" y="2919437"/>
                <a:ext cx="3355759" cy="3476394"/>
              </a:xfrm>
              <a:prstGeom prst="arc">
                <a:avLst>
                  <a:gd name="adj1" fmla="val 17090884"/>
                  <a:gd name="adj2" fmla="val 20621167"/>
                </a:avLst>
              </a:prstGeom>
              <a:ln w="19050"/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111" name="Дуга 110">
                <a:extLst>
                  <a:ext uri="{FF2B5EF4-FFF2-40B4-BE49-F238E27FC236}">
                    <a16:creationId xmlns:a16="http://schemas.microsoft.com/office/drawing/2014/main" id="{69D1F57A-DCF3-A84D-B9CB-14390BBCDCE5}"/>
                  </a:ext>
                </a:extLst>
              </p:cNvPr>
              <p:cNvSpPr/>
              <p:nvPr/>
            </p:nvSpPr>
            <p:spPr>
              <a:xfrm rot="3280190">
                <a:off x="2235891" y="2550473"/>
                <a:ext cx="4073289" cy="4219718"/>
              </a:xfrm>
              <a:prstGeom prst="arc">
                <a:avLst>
                  <a:gd name="adj1" fmla="val 17090884"/>
                  <a:gd name="adj2" fmla="val 20621167"/>
                </a:avLst>
              </a:prstGeom>
              <a:ln w="19050"/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112" name="Дуга 111">
                <a:extLst>
                  <a:ext uri="{FF2B5EF4-FFF2-40B4-BE49-F238E27FC236}">
                    <a16:creationId xmlns:a16="http://schemas.microsoft.com/office/drawing/2014/main" id="{DF1FEE63-1CD7-6A40-BFAE-9846A88E7D31}"/>
                  </a:ext>
                </a:extLst>
              </p:cNvPr>
              <p:cNvSpPr/>
              <p:nvPr/>
            </p:nvSpPr>
            <p:spPr>
              <a:xfrm rot="3339034">
                <a:off x="1653341" y="2082408"/>
                <a:ext cx="4894301" cy="5070245"/>
              </a:xfrm>
              <a:prstGeom prst="arc">
                <a:avLst>
                  <a:gd name="adj1" fmla="val 17090884"/>
                  <a:gd name="adj2" fmla="val 20621167"/>
                </a:avLst>
              </a:prstGeom>
              <a:ln w="19050"/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</p:grpSp>
        <p:grpSp>
          <p:nvGrpSpPr>
            <p:cNvPr id="3" name="Группа 2">
              <a:extLst>
                <a:ext uri="{FF2B5EF4-FFF2-40B4-BE49-F238E27FC236}">
                  <a16:creationId xmlns:a16="http://schemas.microsoft.com/office/drawing/2014/main" id="{8E102374-E28F-8149-B3C7-99E5FB5A7A9A}"/>
                </a:ext>
              </a:extLst>
            </p:cNvPr>
            <p:cNvGrpSpPr/>
            <p:nvPr/>
          </p:nvGrpSpPr>
          <p:grpSpPr>
            <a:xfrm>
              <a:off x="819808" y="3138095"/>
              <a:ext cx="4320419" cy="3583262"/>
              <a:chOff x="1276337" y="2899414"/>
              <a:chExt cx="4320419" cy="3583262"/>
            </a:xfrm>
          </p:grpSpPr>
          <p:grpSp>
            <p:nvGrpSpPr>
              <p:cNvPr id="31" name="Группа 30">
                <a:extLst>
                  <a:ext uri="{FF2B5EF4-FFF2-40B4-BE49-F238E27FC236}">
                    <a16:creationId xmlns:a16="http://schemas.microsoft.com/office/drawing/2014/main" id="{739C4CEC-B81D-F045-8451-A5B9921F34A8}"/>
                  </a:ext>
                </a:extLst>
              </p:cNvPr>
              <p:cNvGrpSpPr/>
              <p:nvPr/>
            </p:nvGrpSpPr>
            <p:grpSpPr>
              <a:xfrm>
                <a:off x="3167310" y="2899414"/>
                <a:ext cx="2429446" cy="3364845"/>
                <a:chOff x="3132102" y="2804282"/>
                <a:chExt cx="3160921" cy="4377957"/>
              </a:xfrm>
            </p:grpSpPr>
            <p:pic>
              <p:nvPicPr>
                <p:cNvPr id="97" name="Рисунок 96">
                  <a:extLst>
                    <a:ext uri="{FF2B5EF4-FFF2-40B4-BE49-F238E27FC236}">
                      <a16:creationId xmlns:a16="http://schemas.microsoft.com/office/drawing/2014/main" id="{7C8362ED-7F09-B543-B9FB-5839A6F7027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 rot="21416550">
                  <a:off x="3132102" y="2804282"/>
                  <a:ext cx="3160921" cy="4377957"/>
                </a:xfrm>
                <a:prstGeom prst="rect">
                  <a:avLst/>
                </a:prstGeom>
              </p:spPr>
            </p:pic>
            <p:grpSp>
              <p:nvGrpSpPr>
                <p:cNvPr id="11" name="Группа 10">
                  <a:extLst>
                    <a:ext uri="{FF2B5EF4-FFF2-40B4-BE49-F238E27FC236}">
                      <a16:creationId xmlns:a16="http://schemas.microsoft.com/office/drawing/2014/main" id="{ABB68A22-8D24-1247-B7D7-7D4FDE1BD711}"/>
                    </a:ext>
                  </a:extLst>
                </p:cNvPr>
                <p:cNvGrpSpPr/>
                <p:nvPr/>
              </p:nvGrpSpPr>
              <p:grpSpPr>
                <a:xfrm rot="539456">
                  <a:off x="3724681" y="3554422"/>
                  <a:ext cx="1908232" cy="2862348"/>
                  <a:chOff x="3617921" y="3065337"/>
                  <a:chExt cx="2713748" cy="4070622"/>
                </a:xfrm>
              </p:grpSpPr>
              <p:pic>
                <p:nvPicPr>
                  <p:cNvPr id="7" name="Рисунок 6"/>
                  <p:cNvPicPr>
                    <a:picLocks noChangeAspect="1"/>
                  </p:cNvPicPr>
                  <p:nvPr/>
                </p:nvPicPr>
                <p:blipFill>
                  <a:blip r:embed="rId4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3617921" y="3065337"/>
                    <a:ext cx="2713748" cy="4070622"/>
                  </a:xfrm>
                  <a:prstGeom prst="rect">
                    <a:avLst/>
                  </a:prstGeom>
                  <a:ln w="19050">
                    <a:noFill/>
                  </a:ln>
                </p:spPr>
              </p:pic>
              <p:sp>
                <p:nvSpPr>
                  <p:cNvPr id="94" name="Прямоугольник 93"/>
                  <p:cNvSpPr/>
                  <p:nvPr/>
                </p:nvSpPr>
                <p:spPr>
                  <a:xfrm>
                    <a:off x="3853982" y="3332293"/>
                    <a:ext cx="2241030" cy="821440"/>
                  </a:xfrm>
                  <a:prstGeom prst="rect">
                    <a:avLst/>
                  </a:prstGeom>
                  <a:noFill/>
                  <a:ln w="19050">
                    <a:solidFill>
                      <a:srgbClr val="BADD8E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104418" tIns="52209" rIns="104418" bIns="52209" rtlCol="0" anchor="t"/>
                  <a:lstStyle/>
                  <a:p>
                    <a:pPr algn="ctr" defTabSz="1043734" hangingPunct="1"/>
                    <a:endParaRPr lang="ru-RU" sz="1300" kern="1200" dirty="0">
                      <a:noFill/>
                      <a:latin typeface="Calibri" panose="020F0502020204030204" pitchFamily="34" charset="0"/>
                    </a:endParaRPr>
                  </a:p>
                </p:txBody>
              </p:sp>
            </p:grpSp>
          </p:grpSp>
          <p:grpSp>
            <p:nvGrpSpPr>
              <p:cNvPr id="32" name="Группа 31">
                <a:extLst>
                  <a:ext uri="{FF2B5EF4-FFF2-40B4-BE49-F238E27FC236}">
                    <a16:creationId xmlns:a16="http://schemas.microsoft.com/office/drawing/2014/main" id="{6ED73B55-8202-F24C-8417-666D0B72ED40}"/>
                  </a:ext>
                </a:extLst>
              </p:cNvPr>
              <p:cNvGrpSpPr/>
              <p:nvPr/>
            </p:nvGrpSpPr>
            <p:grpSpPr>
              <a:xfrm>
                <a:off x="1276337" y="3117831"/>
                <a:ext cx="2429446" cy="3364845"/>
                <a:chOff x="924595" y="2996136"/>
                <a:chExt cx="3160921" cy="4377957"/>
              </a:xfrm>
            </p:grpSpPr>
            <p:pic>
              <p:nvPicPr>
                <p:cNvPr id="87" name="Рисунок 86">
                  <a:extLst>
                    <a:ext uri="{FF2B5EF4-FFF2-40B4-BE49-F238E27FC236}">
                      <a16:creationId xmlns:a16="http://schemas.microsoft.com/office/drawing/2014/main" id="{ABEB8E5C-930B-4B44-A9E2-7EA53ADE5BA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 rot="20450517">
                  <a:off x="924595" y="2996136"/>
                  <a:ext cx="3160921" cy="4377957"/>
                </a:xfrm>
                <a:prstGeom prst="rect">
                  <a:avLst/>
                </a:prstGeom>
              </p:spPr>
            </p:pic>
            <p:pic>
              <p:nvPicPr>
                <p:cNvPr id="2" name="Рисунок 1"/>
                <p:cNvPicPr>
                  <a:picLocks noChangeAspect="1"/>
                </p:cNvPicPr>
                <p:nvPr/>
              </p:nvPicPr>
              <p:blipFill>
                <a:blip r:embed="rId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1174421">
                  <a:off x="1497588" y="3759557"/>
                  <a:ext cx="1864168" cy="2796253"/>
                </a:xfrm>
                <a:prstGeom prst="rect">
                  <a:avLst/>
                </a:prstGeom>
                <a:ln>
                  <a:noFill/>
                </a:ln>
              </p:spPr>
            </p:pic>
            <p:cxnSp>
              <p:nvCxnSpPr>
                <p:cNvPr id="13" name="Прямая соединительная линия 12">
                  <a:extLst>
                    <a:ext uri="{FF2B5EF4-FFF2-40B4-BE49-F238E27FC236}">
                      <a16:creationId xmlns:a16="http://schemas.microsoft.com/office/drawing/2014/main" id="{1F642086-C9D1-B242-8269-1F06013F822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184291" y="3648309"/>
                  <a:ext cx="350615" cy="2794482"/>
                </a:xfrm>
                <a:prstGeom prst="line">
                  <a:avLst/>
                </a:prstGeom>
                <a:ln w="6350">
                  <a:solidFill>
                    <a:schemeClr val="accent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6" name="Прямая соединительная линия 95">
                  <a:extLst>
                    <a:ext uri="{FF2B5EF4-FFF2-40B4-BE49-F238E27FC236}">
                      <a16:creationId xmlns:a16="http://schemas.microsoft.com/office/drawing/2014/main" id="{0E0E880D-6602-EA4A-A6CE-00E849A62FE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1696699" y="6437320"/>
                  <a:ext cx="1838208" cy="222884"/>
                </a:xfrm>
                <a:prstGeom prst="line">
                  <a:avLst/>
                </a:prstGeom>
                <a:ln w="6350">
                  <a:gradFill>
                    <a:gsLst>
                      <a:gs pos="100000">
                        <a:schemeClr val="accent1">
                          <a:lumMod val="5000"/>
                          <a:lumOff val="95000"/>
                          <a:alpha val="0"/>
                        </a:schemeClr>
                      </a:gs>
                      <a:gs pos="31000">
                        <a:schemeClr val="bg1">
                          <a:lumMod val="50000"/>
                        </a:schemeClr>
                      </a:gs>
                    </a:gsLst>
                    <a:lin ang="5400000" scaled="1"/>
                  </a:gra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0" name="Прямая соединительная линия 99">
                  <a:extLst>
                    <a:ext uri="{FF2B5EF4-FFF2-40B4-BE49-F238E27FC236}">
                      <a16:creationId xmlns:a16="http://schemas.microsoft.com/office/drawing/2014/main" id="{435F4BFC-5369-9940-8797-5A382CE58D3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1341363" y="3655163"/>
                  <a:ext cx="1838919" cy="235653"/>
                </a:xfrm>
                <a:prstGeom prst="line">
                  <a:avLst/>
                </a:prstGeom>
                <a:ln w="6350">
                  <a:gradFill>
                    <a:gsLst>
                      <a:gs pos="100000">
                        <a:schemeClr val="accent1">
                          <a:lumMod val="5000"/>
                          <a:lumOff val="95000"/>
                        </a:schemeClr>
                      </a:gs>
                      <a:gs pos="31000">
                        <a:schemeClr val="bg1">
                          <a:lumMod val="50000"/>
                        </a:schemeClr>
                      </a:gs>
                    </a:gsLst>
                    <a:lin ang="5400000" scaled="1"/>
                  </a:gra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grpSp>
        <p:nvGrpSpPr>
          <p:cNvPr id="12" name="Группа 11">
            <a:extLst>
              <a:ext uri="{FF2B5EF4-FFF2-40B4-BE49-F238E27FC236}">
                <a16:creationId xmlns:a16="http://schemas.microsoft.com/office/drawing/2014/main" id="{E9E6DCB4-2595-FC4E-9606-B162EFC0AE63}"/>
              </a:ext>
            </a:extLst>
          </p:cNvPr>
          <p:cNvGrpSpPr/>
          <p:nvPr/>
        </p:nvGrpSpPr>
        <p:grpSpPr>
          <a:xfrm>
            <a:off x="6935324" y="2896754"/>
            <a:ext cx="5970174" cy="4962796"/>
            <a:chOff x="7072387" y="3648082"/>
            <a:chExt cx="4761636" cy="3958181"/>
          </a:xfrm>
        </p:grpSpPr>
        <p:grpSp>
          <p:nvGrpSpPr>
            <p:cNvPr id="122" name="Группа 121">
              <a:extLst>
                <a:ext uri="{FF2B5EF4-FFF2-40B4-BE49-F238E27FC236}">
                  <a16:creationId xmlns:a16="http://schemas.microsoft.com/office/drawing/2014/main" id="{DFE75654-B85E-6848-B1BC-BB0643EA77BA}"/>
                </a:ext>
              </a:extLst>
            </p:cNvPr>
            <p:cNvGrpSpPr/>
            <p:nvPr/>
          </p:nvGrpSpPr>
          <p:grpSpPr>
            <a:xfrm rot="9705187">
              <a:off x="7072387" y="3690169"/>
              <a:ext cx="2738361" cy="2643337"/>
              <a:chOff x="2162677" y="2623687"/>
              <a:chExt cx="4219718" cy="4073289"/>
            </a:xfrm>
          </p:grpSpPr>
          <p:sp>
            <p:nvSpPr>
              <p:cNvPr id="123" name="Дуга 122">
                <a:extLst>
                  <a:ext uri="{FF2B5EF4-FFF2-40B4-BE49-F238E27FC236}">
                    <a16:creationId xmlns:a16="http://schemas.microsoft.com/office/drawing/2014/main" id="{8F4FAE5C-70EA-BD4A-8C29-C0DE452F41EA}"/>
                  </a:ext>
                </a:extLst>
              </p:cNvPr>
              <p:cNvSpPr/>
              <p:nvPr/>
            </p:nvSpPr>
            <p:spPr>
              <a:xfrm rot="3248944">
                <a:off x="2741990" y="2919437"/>
                <a:ext cx="3355759" cy="3476394"/>
              </a:xfrm>
              <a:prstGeom prst="arc">
                <a:avLst>
                  <a:gd name="adj1" fmla="val 17090884"/>
                  <a:gd name="adj2" fmla="val 20621167"/>
                </a:avLst>
              </a:prstGeom>
              <a:ln w="19050"/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124" name="Дуга 123">
                <a:extLst>
                  <a:ext uri="{FF2B5EF4-FFF2-40B4-BE49-F238E27FC236}">
                    <a16:creationId xmlns:a16="http://schemas.microsoft.com/office/drawing/2014/main" id="{52D097E3-AB6D-DA43-873D-14D0D2E43BCD}"/>
                  </a:ext>
                </a:extLst>
              </p:cNvPr>
              <p:cNvSpPr/>
              <p:nvPr/>
            </p:nvSpPr>
            <p:spPr>
              <a:xfrm rot="3280190">
                <a:off x="2235891" y="2550473"/>
                <a:ext cx="4073289" cy="4219718"/>
              </a:xfrm>
              <a:prstGeom prst="arc">
                <a:avLst>
                  <a:gd name="adj1" fmla="val 17090884"/>
                  <a:gd name="adj2" fmla="val 20621167"/>
                </a:avLst>
              </a:prstGeom>
              <a:ln w="19050"/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</p:grpSp>
        <p:grpSp>
          <p:nvGrpSpPr>
            <p:cNvPr id="30" name="Группа 29">
              <a:extLst>
                <a:ext uri="{FF2B5EF4-FFF2-40B4-BE49-F238E27FC236}">
                  <a16:creationId xmlns:a16="http://schemas.microsoft.com/office/drawing/2014/main" id="{D33EB94C-FEFE-F84B-9203-EFAA8938BD0D}"/>
                </a:ext>
              </a:extLst>
            </p:cNvPr>
            <p:cNvGrpSpPr/>
            <p:nvPr/>
          </p:nvGrpSpPr>
          <p:grpSpPr>
            <a:xfrm>
              <a:off x="7232886" y="3648082"/>
              <a:ext cx="2399491" cy="3323357"/>
              <a:chOff x="6777449" y="2720145"/>
              <a:chExt cx="3160921" cy="4377957"/>
            </a:xfrm>
          </p:grpSpPr>
          <p:pic>
            <p:nvPicPr>
              <p:cNvPr id="99" name="Рисунок 98">
                <a:extLst>
                  <a:ext uri="{FF2B5EF4-FFF2-40B4-BE49-F238E27FC236}">
                    <a16:creationId xmlns:a16="http://schemas.microsoft.com/office/drawing/2014/main" id="{EAD6A5A7-ABD8-734B-A53A-1775B377969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 rot="20657523">
                <a:off x="6777449" y="2720145"/>
                <a:ext cx="3160921" cy="4377957"/>
              </a:xfrm>
              <a:prstGeom prst="rect">
                <a:avLst/>
              </a:prstGeom>
            </p:spPr>
          </p:pic>
          <p:grpSp>
            <p:nvGrpSpPr>
              <p:cNvPr id="10" name="Группа 9">
                <a:extLst>
                  <a:ext uri="{FF2B5EF4-FFF2-40B4-BE49-F238E27FC236}">
                    <a16:creationId xmlns:a16="http://schemas.microsoft.com/office/drawing/2014/main" id="{FFC304C2-AD77-814E-BC36-4C5FA9B0EC31}"/>
                  </a:ext>
                </a:extLst>
              </p:cNvPr>
              <p:cNvGrpSpPr/>
              <p:nvPr/>
            </p:nvGrpSpPr>
            <p:grpSpPr>
              <a:xfrm rot="21386020">
                <a:off x="7349587" y="3467055"/>
                <a:ext cx="1923077" cy="2815779"/>
                <a:chOff x="6301174" y="3075950"/>
                <a:chExt cx="2706030" cy="4059045"/>
              </a:xfrm>
            </p:grpSpPr>
            <p:pic>
              <p:nvPicPr>
                <p:cNvPr id="6" name="Рисунок 5"/>
                <p:cNvPicPr>
                  <a:picLocks noChangeAspect="1"/>
                </p:cNvPicPr>
                <p:nvPr/>
              </p:nvPicPr>
              <p:blipFill>
                <a:blip r:embed="rId6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301174" y="3075950"/>
                  <a:ext cx="2706030" cy="4059045"/>
                </a:xfrm>
                <a:prstGeom prst="rect">
                  <a:avLst/>
                </a:prstGeom>
                <a:ln w="19050">
                  <a:noFill/>
                </a:ln>
              </p:spPr>
            </p:pic>
            <p:sp>
              <p:nvSpPr>
                <p:cNvPr id="9" name="Прямоугольник 8"/>
                <p:cNvSpPr/>
                <p:nvPr/>
              </p:nvSpPr>
              <p:spPr>
                <a:xfrm>
                  <a:off x="6983836" y="3346752"/>
                  <a:ext cx="1391351" cy="821440"/>
                </a:xfrm>
                <a:prstGeom prst="rect">
                  <a:avLst/>
                </a:prstGeom>
                <a:noFill/>
                <a:ln w="19050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4418" tIns="52209" rIns="104418" bIns="52209" rtlCol="0" anchor="t"/>
                <a:lstStyle/>
                <a:p>
                  <a:pPr algn="ctr" defTabSz="1043734" hangingPunct="1"/>
                  <a:endParaRPr lang="ru-RU" sz="1300" kern="1200" dirty="0">
                    <a:noFill/>
                    <a:latin typeface="Calibri" panose="020F0502020204030204" pitchFamily="34" charset="0"/>
                  </a:endParaRPr>
                </a:p>
              </p:txBody>
            </p:sp>
          </p:grpSp>
        </p:grpSp>
        <p:grpSp>
          <p:nvGrpSpPr>
            <p:cNvPr id="126" name="Группа 125">
              <a:extLst>
                <a:ext uri="{FF2B5EF4-FFF2-40B4-BE49-F238E27FC236}">
                  <a16:creationId xmlns:a16="http://schemas.microsoft.com/office/drawing/2014/main" id="{50A0A146-8409-5747-AD7B-A613F31C8C96}"/>
                </a:ext>
              </a:extLst>
            </p:cNvPr>
            <p:cNvGrpSpPr/>
            <p:nvPr/>
          </p:nvGrpSpPr>
          <p:grpSpPr>
            <a:xfrm rot="21389515">
              <a:off x="7985142" y="3890943"/>
              <a:ext cx="3848881" cy="3715320"/>
              <a:chOff x="1565369" y="2170380"/>
              <a:chExt cx="5070245" cy="4894301"/>
            </a:xfrm>
          </p:grpSpPr>
          <p:sp>
            <p:nvSpPr>
              <p:cNvPr id="127" name="Дуга 126">
                <a:extLst>
                  <a:ext uri="{FF2B5EF4-FFF2-40B4-BE49-F238E27FC236}">
                    <a16:creationId xmlns:a16="http://schemas.microsoft.com/office/drawing/2014/main" id="{3ADA4E9E-1ABB-4446-93E7-FF945BC08763}"/>
                  </a:ext>
                </a:extLst>
              </p:cNvPr>
              <p:cNvSpPr/>
              <p:nvPr/>
            </p:nvSpPr>
            <p:spPr>
              <a:xfrm rot="3248944">
                <a:off x="2741990" y="2919437"/>
                <a:ext cx="3355759" cy="3476394"/>
              </a:xfrm>
              <a:prstGeom prst="arc">
                <a:avLst>
                  <a:gd name="adj1" fmla="val 17090884"/>
                  <a:gd name="adj2" fmla="val 20621167"/>
                </a:avLst>
              </a:prstGeom>
              <a:ln w="19050"/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128" name="Дуга 127">
                <a:extLst>
                  <a:ext uri="{FF2B5EF4-FFF2-40B4-BE49-F238E27FC236}">
                    <a16:creationId xmlns:a16="http://schemas.microsoft.com/office/drawing/2014/main" id="{89ADD3BA-261A-9A4D-8453-D36DB203E4ED}"/>
                  </a:ext>
                </a:extLst>
              </p:cNvPr>
              <p:cNvSpPr/>
              <p:nvPr/>
            </p:nvSpPr>
            <p:spPr>
              <a:xfrm rot="3280190">
                <a:off x="2235891" y="2550473"/>
                <a:ext cx="4073289" cy="4219718"/>
              </a:xfrm>
              <a:prstGeom prst="arc">
                <a:avLst>
                  <a:gd name="adj1" fmla="val 17090884"/>
                  <a:gd name="adj2" fmla="val 20621167"/>
                </a:avLst>
              </a:prstGeom>
              <a:ln w="19050"/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129" name="Дуга 128">
                <a:extLst>
                  <a:ext uri="{FF2B5EF4-FFF2-40B4-BE49-F238E27FC236}">
                    <a16:creationId xmlns:a16="http://schemas.microsoft.com/office/drawing/2014/main" id="{F3986CCC-769C-1A45-97EF-AC02FBBA5124}"/>
                  </a:ext>
                </a:extLst>
              </p:cNvPr>
              <p:cNvSpPr/>
              <p:nvPr/>
            </p:nvSpPr>
            <p:spPr>
              <a:xfrm rot="3339034">
                <a:off x="1653341" y="2082408"/>
                <a:ext cx="4894301" cy="5070245"/>
              </a:xfrm>
              <a:prstGeom prst="arc">
                <a:avLst>
                  <a:gd name="adj1" fmla="val 17090884"/>
                  <a:gd name="adj2" fmla="val 20621167"/>
                </a:avLst>
              </a:prstGeom>
              <a:ln w="19050"/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</p:grpSp>
        <p:grpSp>
          <p:nvGrpSpPr>
            <p:cNvPr id="29" name="Группа 28">
              <a:extLst>
                <a:ext uri="{FF2B5EF4-FFF2-40B4-BE49-F238E27FC236}">
                  <a16:creationId xmlns:a16="http://schemas.microsoft.com/office/drawing/2014/main" id="{2D22B78A-FDD9-4645-BD75-5D025E9E700B}"/>
                </a:ext>
              </a:extLst>
            </p:cNvPr>
            <p:cNvGrpSpPr/>
            <p:nvPr/>
          </p:nvGrpSpPr>
          <p:grpSpPr>
            <a:xfrm>
              <a:off x="9129061" y="3918660"/>
              <a:ext cx="2399491" cy="3323357"/>
              <a:chOff x="9136729" y="3011267"/>
              <a:chExt cx="3160921" cy="4377957"/>
            </a:xfrm>
          </p:grpSpPr>
          <p:pic>
            <p:nvPicPr>
              <p:cNvPr id="98" name="Рисунок 97">
                <a:extLst>
                  <a:ext uri="{FF2B5EF4-FFF2-40B4-BE49-F238E27FC236}">
                    <a16:creationId xmlns:a16="http://schemas.microsoft.com/office/drawing/2014/main" id="{C4D590EA-C714-5746-B59F-C74D9FA630D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 rot="21250640">
                <a:off x="9136729" y="3011267"/>
                <a:ext cx="3160921" cy="4377957"/>
              </a:xfrm>
              <a:prstGeom prst="rect">
                <a:avLst/>
              </a:prstGeom>
            </p:spPr>
          </p:pic>
          <p:grpSp>
            <p:nvGrpSpPr>
              <p:cNvPr id="5" name="Группа 4">
                <a:extLst>
                  <a:ext uri="{FF2B5EF4-FFF2-40B4-BE49-F238E27FC236}">
                    <a16:creationId xmlns:a16="http://schemas.microsoft.com/office/drawing/2014/main" id="{C40E1667-FB94-C14E-8862-93D2EF2B9225}"/>
                  </a:ext>
                </a:extLst>
              </p:cNvPr>
              <p:cNvGrpSpPr/>
              <p:nvPr/>
            </p:nvGrpSpPr>
            <p:grpSpPr>
              <a:xfrm rot="401712">
                <a:off x="9728095" y="3736135"/>
                <a:ext cx="1895397" cy="2843096"/>
                <a:chOff x="9225779" y="3065336"/>
                <a:chExt cx="2706030" cy="4059045"/>
              </a:xfrm>
            </p:grpSpPr>
            <p:pic>
              <p:nvPicPr>
                <p:cNvPr id="8" name="Рисунок 7"/>
                <p:cNvPicPr>
                  <a:picLocks noChangeAspect="1"/>
                </p:cNvPicPr>
                <p:nvPr/>
              </p:nvPicPr>
              <p:blipFill>
                <a:blip r:embed="rId7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225779" y="3065336"/>
                  <a:ext cx="2706030" cy="4059045"/>
                </a:xfrm>
                <a:prstGeom prst="rect">
                  <a:avLst/>
                </a:prstGeom>
                <a:ln w="19050">
                  <a:noFill/>
                </a:ln>
              </p:spPr>
            </p:pic>
            <p:sp>
              <p:nvSpPr>
                <p:cNvPr id="93" name="Прямоугольник 92"/>
                <p:cNvSpPr/>
                <p:nvPr/>
              </p:nvSpPr>
              <p:spPr>
                <a:xfrm>
                  <a:off x="9472204" y="3332293"/>
                  <a:ext cx="2241030" cy="821440"/>
                </a:xfrm>
                <a:prstGeom prst="rect">
                  <a:avLst/>
                </a:prstGeom>
                <a:noFill/>
                <a:ln w="19050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4418" tIns="52209" rIns="104418" bIns="52209" rtlCol="0" anchor="t"/>
                <a:lstStyle/>
                <a:p>
                  <a:pPr algn="ctr" defTabSz="1043734" hangingPunct="1"/>
                  <a:endParaRPr lang="ru-RU" sz="1300" kern="1200" dirty="0">
                    <a:noFill/>
                    <a:latin typeface="Calibri" panose="020F0502020204030204" pitchFamily="34" charset="0"/>
                  </a:endParaRPr>
                </a:p>
              </p:txBody>
            </p:sp>
          </p:grpSp>
        </p:grpSp>
      </p:grpSp>
      <p:grpSp>
        <p:nvGrpSpPr>
          <p:cNvPr id="14" name="Группа 13">
            <a:extLst>
              <a:ext uri="{FF2B5EF4-FFF2-40B4-BE49-F238E27FC236}">
                <a16:creationId xmlns:a16="http://schemas.microsoft.com/office/drawing/2014/main" id="{12F653DC-4D0B-D842-AC88-7B81E6FCEAA3}"/>
              </a:ext>
            </a:extLst>
          </p:cNvPr>
          <p:cNvGrpSpPr/>
          <p:nvPr/>
        </p:nvGrpSpPr>
        <p:grpSpPr>
          <a:xfrm>
            <a:off x="6490842" y="2751418"/>
            <a:ext cx="915682" cy="915682"/>
            <a:chOff x="6960598" y="2240090"/>
            <a:chExt cx="965204" cy="965204"/>
          </a:xfrm>
          <a:solidFill>
            <a:schemeClr val="accent2"/>
          </a:solidFill>
        </p:grpSpPr>
        <p:sp>
          <p:nvSpPr>
            <p:cNvPr id="82" name="Прямоугольник 81">
              <a:extLst>
                <a:ext uri="{FF2B5EF4-FFF2-40B4-BE49-F238E27FC236}">
                  <a16:creationId xmlns:a16="http://schemas.microsoft.com/office/drawing/2014/main" id="{3E7381A5-29E8-7449-A812-EC764A74A72F}"/>
                </a:ext>
              </a:extLst>
            </p:cNvPr>
            <p:cNvSpPr/>
            <p:nvPr/>
          </p:nvSpPr>
          <p:spPr>
            <a:xfrm rot="2178014">
              <a:off x="6960598" y="2647742"/>
              <a:ext cx="965204" cy="178629"/>
            </a:xfrm>
            <a:prstGeom prst="rect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4417" tIns="52208" rIns="104417" bIns="52208" rtlCol="0" anchor="t"/>
            <a:lstStyle/>
            <a:p>
              <a:pPr algn="ctr" defTabSz="1043734" hangingPunct="1"/>
              <a:endParaRPr lang="ru-RU" sz="1300" kern="120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83" name="Прямоугольник 82">
              <a:extLst>
                <a:ext uri="{FF2B5EF4-FFF2-40B4-BE49-F238E27FC236}">
                  <a16:creationId xmlns:a16="http://schemas.microsoft.com/office/drawing/2014/main" id="{C7C42453-71FD-0749-B668-886CB6684760}"/>
                </a:ext>
              </a:extLst>
            </p:cNvPr>
            <p:cNvSpPr/>
            <p:nvPr/>
          </p:nvSpPr>
          <p:spPr>
            <a:xfrm rot="8087781">
              <a:off x="6958604" y="2633377"/>
              <a:ext cx="965204" cy="178629"/>
            </a:xfrm>
            <a:prstGeom prst="rect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4417" tIns="52208" rIns="104417" bIns="52208" rtlCol="0" anchor="t"/>
            <a:lstStyle/>
            <a:p>
              <a:pPr algn="ctr" defTabSz="1043734" hangingPunct="1"/>
              <a:endParaRPr lang="ru-RU" sz="1300" kern="120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</p:grpSp>
      <p:grpSp>
        <p:nvGrpSpPr>
          <p:cNvPr id="15" name="Группа 14">
            <a:extLst>
              <a:ext uri="{FF2B5EF4-FFF2-40B4-BE49-F238E27FC236}">
                <a16:creationId xmlns:a16="http://schemas.microsoft.com/office/drawing/2014/main" id="{CA2DF1B4-9D88-484A-AE03-21F0DC915959}"/>
              </a:ext>
            </a:extLst>
          </p:cNvPr>
          <p:cNvGrpSpPr/>
          <p:nvPr/>
        </p:nvGrpSpPr>
        <p:grpSpPr>
          <a:xfrm rot="21058841">
            <a:off x="505982" y="2991100"/>
            <a:ext cx="754905" cy="420030"/>
            <a:chOff x="692749" y="2385864"/>
            <a:chExt cx="893301" cy="497034"/>
          </a:xfrm>
          <a:solidFill>
            <a:schemeClr val="bg1"/>
          </a:solidFill>
        </p:grpSpPr>
        <p:sp>
          <p:nvSpPr>
            <p:cNvPr id="84" name="Прямоугольник 83">
              <a:extLst>
                <a:ext uri="{FF2B5EF4-FFF2-40B4-BE49-F238E27FC236}">
                  <a16:creationId xmlns:a16="http://schemas.microsoft.com/office/drawing/2014/main" id="{D513260C-075B-2F4C-B398-D02C727E0059}"/>
                </a:ext>
              </a:extLst>
            </p:cNvPr>
            <p:cNvSpPr/>
            <p:nvPr/>
          </p:nvSpPr>
          <p:spPr>
            <a:xfrm rot="8425803">
              <a:off x="711944" y="2432863"/>
              <a:ext cx="874106" cy="191318"/>
            </a:xfrm>
            <a:prstGeom prst="rect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4417" tIns="52208" rIns="104417" bIns="52208" rtlCol="0" anchor="t"/>
            <a:lstStyle/>
            <a:p>
              <a:pPr algn="ctr" defTabSz="1043734" hangingPunct="1"/>
              <a:endParaRPr lang="ru-RU" sz="1300" kern="12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85" name="Прямоугольник 84">
              <a:extLst>
                <a:ext uri="{FF2B5EF4-FFF2-40B4-BE49-F238E27FC236}">
                  <a16:creationId xmlns:a16="http://schemas.microsoft.com/office/drawing/2014/main" id="{1390B7FB-F724-004A-9C1B-1DFBAFF394DF}"/>
                </a:ext>
              </a:extLst>
            </p:cNvPr>
            <p:cNvSpPr/>
            <p:nvPr/>
          </p:nvSpPr>
          <p:spPr>
            <a:xfrm rot="2910620">
              <a:off x="532025" y="2546588"/>
              <a:ext cx="497034" cy="175586"/>
            </a:xfrm>
            <a:prstGeom prst="rect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4417" tIns="52208" rIns="104417" bIns="52208" rtlCol="0" anchor="t"/>
            <a:lstStyle/>
            <a:p>
              <a:pPr algn="ctr" defTabSz="1043734" hangingPunct="1"/>
              <a:endParaRPr lang="ru-RU" sz="1300" kern="12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30360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 advClick="0" advTm="10000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heme/theme1.xml><?xml version="1.0" encoding="utf-8"?>
<a:theme xmlns:a="http://schemas.openxmlformats.org/drawingml/2006/main" name="3_tema_sbrf">
  <a:themeElements>
    <a:clrScheme name="Другая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EDFE7"/>
      </a:accent1>
      <a:accent2>
        <a:srgbClr val="8CC742"/>
      </a:accent2>
      <a:accent3>
        <a:srgbClr val="FFAE18"/>
      </a:accent3>
      <a:accent4>
        <a:srgbClr val="049536"/>
      </a:accent4>
      <a:accent5>
        <a:srgbClr val="FF6600"/>
      </a:accent5>
      <a:accent6>
        <a:srgbClr val="808080"/>
      </a:accent6>
      <a:hlink>
        <a:srgbClr val="92D050"/>
      </a:hlink>
      <a:folHlink>
        <a:srgbClr val="049536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>
            <a:lumMod val="20000"/>
            <a:lumOff val="80000"/>
          </a:schemeClr>
        </a:solidFill>
        <a:ln w="9525">
          <a:solidFill>
            <a:schemeClr val="accent6"/>
          </a:solidFill>
        </a:ln>
      </a:spPr>
      <a:bodyPr lIns="104418" tIns="52209" rIns="104418" bIns="52209" rtlCol="0" anchor="t"/>
      <a:lstStyle>
        <a:defPPr defTabSz="1043734" hangingPunct="1">
          <a:defRPr sz="1300" kern="1200" dirty="0">
            <a:solidFill>
              <a:srgbClr val="000000"/>
            </a:solidFill>
            <a:latin typeface="Calibri" panose="020F050202020403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12700">
          <a:miter lim="400000"/>
        </a:ln>
        <a:effectLst>
          <a:outerShdw blurRad="190500" dist="92923" dir="16991084" rotWithShape="0">
            <a:schemeClr val="accent1"/>
          </a:outerShdw>
        </a:effectLst>
        <a:extLst>
          <a:ext uri="{C572A759-6A51-4108-AA02-DFA0A04FC94B}">
            <ma14:wrappingTextBoxFlag xmlns:ma14="http://schemas.microsoft.com/office/mac/drawingml/2011/main" xmlns="" val="1"/>
          </a:ext>
        </a:extLst>
      </a:spPr>
      <a:bodyPr wrap="none" lIns="50800" tIns="50800" rIns="50800" bIns="50800" anchor="ctr">
        <a:spAutoFit/>
      </a:bodyPr>
      <a:lstStyle>
        <a:defPPr>
          <a:defRPr dirty="0">
            <a:solidFill>
              <a:schemeClr val="bg1">
                <a:lumMod val="50000"/>
              </a:schemeClr>
            </a:solidFill>
          </a:defRPr>
        </a:defPPr>
      </a:lstStyle>
    </a:tx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ema_sbrf" id="{B085898A-4814-4E57-A65F-766BB6F66A65}" vid="{1B29605C-C6E1-4770-B548-1360CBF7D2B2}"/>
    </a:ext>
  </a:extLst>
</a:theme>
</file>

<file path=ppt/theme/theme2.xml><?xml version="1.0" encoding="utf-8"?>
<a:theme xmlns:a="http://schemas.openxmlformats.org/drawingml/2006/main" name="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0365C0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0000FF"/>
      </a:hlink>
      <a:folHlink>
        <a:srgbClr val="FF00FF"/>
      </a:folHlink>
    </a:clrScheme>
    <a:fontScheme name="White">
      <a:majorFont>
        <a:latin typeface="Helvetica"/>
        <a:ea typeface="Helvetica"/>
        <a:cs typeface="Helvetica"/>
      </a:majorFont>
      <a:minorFont>
        <a:latin typeface="Helvetica Neue"/>
        <a:ea typeface="Helvetica Neue"/>
        <a:cs typeface="Helvetica Neue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25400" dist="127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25400" dist="127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25400" dist="127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>
          <a:outerShdw blurRad="25400" dist="12700" dir="5400000" rotWithShape="0">
            <a:srgbClr val="000000">
              <a:alpha val="50000"/>
            </a:srgbClr>
          </a:outerShdw>
        </a:effectLst>
        <a:sp3d/>
      </a:spPr>
      <a:bodyPr rot="0" spcFirstLastPara="1" vertOverflow="overflow" horzOverflow="overflow" vert="horz" wrap="square" lIns="39488" tIns="39488" rIns="39488" bIns="39488" numCol="1" spcCol="38100" rtlCol="0" anchor="ctr">
        <a:spAutoFit/>
      </a:bodyPr>
      <a:lstStyle>
        <a:defPPr marL="0" marR="0" indent="0" algn="ctr" defTabSz="454123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6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Helvetica Light"/>
            <a:ea typeface="Helvetica Light"/>
            <a:cs typeface="Helvetica Light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>
          <a:outerShdw blurRad="25400" dist="12700" dir="5400000" rotWithShape="0">
            <a:srgbClr val="000000">
              <a:alpha val="50000"/>
            </a:srgbClr>
          </a:outerShdw>
        </a:effectLst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39488" tIns="39488" rIns="39488" bIns="39488" numCol="1" spcCol="38100" rtlCol="0" anchor="ctr">
        <a:spAutoFit/>
      </a:bodyPr>
      <a:lstStyle>
        <a:defPPr marL="0" marR="0" indent="0" algn="ctr" defTabSz="454123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6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Helvetica Light"/>
            <a:ea typeface="Helvetica Light"/>
            <a:cs typeface="Helvetica Light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195</TotalTime>
  <Words>528</Words>
  <Application>Microsoft Office PowerPoint</Application>
  <PresentationFormat>Произвольный</PresentationFormat>
  <Paragraphs>94</Paragraphs>
  <Slides>13</Slides>
  <Notes>11</Notes>
  <HiddenSlides>0</HiddenSlides>
  <MMClips>1</MMClips>
  <ScaleCrop>false</ScaleCrop>
  <HeadingPairs>
    <vt:vector size="8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3</vt:i4>
      </vt:variant>
    </vt:vector>
  </HeadingPairs>
  <TitlesOfParts>
    <vt:vector size="26" baseType="lpstr">
      <vt:lpstr>Aharoni</vt:lpstr>
      <vt:lpstr>Arial</vt:lpstr>
      <vt:lpstr>Calibri</vt:lpstr>
      <vt:lpstr>Calibri Light</vt:lpstr>
      <vt:lpstr>Helvetica Light</vt:lpstr>
      <vt:lpstr>Helvetica Neue</vt:lpstr>
      <vt:lpstr>Open Sans</vt:lpstr>
      <vt:lpstr>SBSansDisplay</vt:lpstr>
      <vt:lpstr>SBSansText</vt:lpstr>
      <vt:lpstr>3_tema_sbrf</vt:lpstr>
      <vt:lpstr>Специальное оформление</vt:lpstr>
      <vt:lpstr>1_Специальное оформление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Ирина Матвийчук</dc:creator>
  <cp:lastModifiedBy>Шиловский Михаил Михайлович</cp:lastModifiedBy>
  <cp:revision>256</cp:revision>
  <cp:lastPrinted>2025-02-18T11:04:17Z</cp:lastPrinted>
  <dcterms:created xsi:type="dcterms:W3CDTF">2019-03-01T10:19:53Z</dcterms:created>
  <dcterms:modified xsi:type="dcterms:W3CDTF">2025-02-18T12:43:04Z</dcterms:modified>
</cp:coreProperties>
</file>